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x-wmf" Extension="wmf"/>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27" removePersonalInfoOnSave="1" saveSubsetFonts="1" autoCompressPictures="0">
  <p:sldMasterIdLst>
    <p:sldMasterId id="2147483660" r:id="rId4"/>
  </p:sldMasterIdLst>
  <p:notesMasterIdLst>
    <p:notesMasterId r:id="rId52"/>
  </p:notesMasterIdLst>
  <p:sldIdLst>
    <p:sldId id="343" r:id="rId5"/>
    <p:sldId id="1040" r:id="rId6"/>
    <p:sldId id="1025" r:id="rId7"/>
    <p:sldId id="602" r:id="rId8"/>
    <p:sldId id="562" r:id="rId9"/>
    <p:sldId id="547" r:id="rId10"/>
    <p:sldId id="548" r:id="rId11"/>
    <p:sldId id="549" r:id="rId12"/>
    <p:sldId id="1050" r:id="rId13"/>
    <p:sldId id="1057" r:id="rId14"/>
    <p:sldId id="1058" r:id="rId15"/>
    <p:sldId id="1059" r:id="rId16"/>
    <p:sldId id="1060" r:id="rId17"/>
    <p:sldId id="1061" r:id="rId18"/>
    <p:sldId id="1062" r:id="rId19"/>
    <p:sldId id="1063" r:id="rId20"/>
    <p:sldId id="1064" r:id="rId21"/>
    <p:sldId id="1065" r:id="rId22"/>
    <p:sldId id="1051" r:id="rId23"/>
    <p:sldId id="1053" r:id="rId24"/>
    <p:sldId id="1054" r:id="rId25"/>
    <p:sldId id="1052" r:id="rId26"/>
    <p:sldId id="1055" r:id="rId27"/>
    <p:sldId id="1056" r:id="rId28"/>
    <p:sldId id="1026" r:id="rId29"/>
    <p:sldId id="1027" r:id="rId30"/>
    <p:sldId id="1028" r:id="rId31"/>
    <p:sldId id="1029" r:id="rId32"/>
    <p:sldId id="1041" r:id="rId33"/>
    <p:sldId id="1030" r:id="rId34"/>
    <p:sldId id="1042" r:id="rId35"/>
    <p:sldId id="1047" r:id="rId36"/>
    <p:sldId id="1048" r:id="rId37"/>
    <p:sldId id="1049" r:id="rId38"/>
    <p:sldId id="1043" r:id="rId39"/>
    <p:sldId id="1044" r:id="rId40"/>
    <p:sldId id="1045" r:id="rId41"/>
    <p:sldId id="1046" r:id="rId42"/>
    <p:sldId id="1032" r:id="rId43"/>
    <p:sldId id="1033" r:id="rId44"/>
    <p:sldId id="1034" r:id="rId45"/>
    <p:sldId id="1035" r:id="rId46"/>
    <p:sldId id="1036" r:id="rId47"/>
    <p:sldId id="1037" r:id="rId48"/>
    <p:sldId id="1038" r:id="rId49"/>
    <p:sldId id="1039" r:id="rId50"/>
    <p:sldId id="1107" r:id="rId51"/>
  </p:sldIdLst>
  <p:sldSz cx="9144000" cy="6858000" type="screen4x3"/>
  <p:notesSz cx="6635750" cy="9767888"/>
  <p:custDataLst>
    <p:tags r:id="rId5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16DDD9-036E-4755-935B-73C02364EB37}" v="1" dt="2025-03-13T01:09:14.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41" autoAdjust="0"/>
    <p:restoredTop sz="75962" autoAdjust="0"/>
  </p:normalViewPr>
  <p:slideViewPr>
    <p:cSldViewPr snapToGrid="0" snapToObjects="1">
      <p:cViewPr varScale="1">
        <p:scale>
          <a:sx n="52" d="100"/>
          <a:sy n="52" d="100"/>
        </p:scale>
        <p:origin x="1568"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notesMasters/notesMaster1.xml" Type="http://schemas.openxmlformats.org/officeDocument/2006/relationships/notesMaster"/><Relationship Id="rId53" Target="tags/tag1.xml" Type="http://schemas.openxmlformats.org/officeDocument/2006/relationships/tags"/><Relationship Id="rId54" Target="commentAuthors.xml" Type="http://schemas.openxmlformats.org/officeDocument/2006/relationships/commentAuthors"/><Relationship Id="rId55" Target="presProps.xml" Type="http://schemas.openxmlformats.org/officeDocument/2006/relationships/presProps"/><Relationship Id="rId56" Target="viewProps.xml" Type="http://schemas.openxmlformats.org/officeDocument/2006/relationships/viewProps"/><Relationship Id="rId57" Target="theme/theme1.xml" Type="http://schemas.openxmlformats.org/officeDocument/2006/relationships/theme"/><Relationship Id="rId58" Target="tableStyles.xml" Type="http://schemas.openxmlformats.org/officeDocument/2006/relationships/tableStyles"/><Relationship Id="rId59" Target="revisionInfo.xml" Type="http://schemas.microsoft.com/office/2015/10/relationships/revisionInfo"/><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9844B237-6E6E-3089-B10F-D2072902673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C30F7F7A-FC54-7B94-02D2-B34BCDBE20DB}"/>
              </a:ext>
            </a:extLst>
          </p:cNvPr>
          <p:cNvSpPr>
            <a:spLocks noGrp="1" noRot="1" noChangeAspect="1"/>
          </p:cNvSpPr>
          <p:nvPr>
            <p:ph type="sldImg"/>
          </p:nvPr>
        </p:nvSpPr>
        <p:spPr/>
      </p:sp>
    </p:spTree>
    <p:extLst>
      <p:ext uri="{BB962C8B-B14F-4D97-AF65-F5344CB8AC3E}">
        <p14:creationId xmlns:p14="http://schemas.microsoft.com/office/powerpoint/2010/main" val="1572432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C7F9144B-710B-85D6-2730-3C25C4C7A289}"/>
              </a:ext>
            </a:extLst>
          </p:cNvPr>
          <p:cNvSpPr>
            <a:spLocks noGrp="1" noRot="1" noChangeAspect="1"/>
          </p:cNvSpPr>
          <p:nvPr>
            <p:ph type="sldImg"/>
          </p:nvPr>
        </p:nvSpPr>
        <p:spPr/>
      </p:sp>
    </p:spTree>
    <p:extLst>
      <p:ext uri="{BB962C8B-B14F-4D97-AF65-F5344CB8AC3E}">
        <p14:creationId xmlns:p14="http://schemas.microsoft.com/office/powerpoint/2010/main" val="3606785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ADE5660C-C087-44E2-021C-23DA6B0E953E}"/>
              </a:ext>
            </a:extLst>
          </p:cNvPr>
          <p:cNvSpPr>
            <a:spLocks noGrp="1" noRot="1" noChangeAspect="1"/>
          </p:cNvSpPr>
          <p:nvPr>
            <p:ph type="sldImg"/>
          </p:nvPr>
        </p:nvSpPr>
        <p:spPr/>
      </p:sp>
    </p:spTree>
    <p:extLst>
      <p:ext uri="{BB962C8B-B14F-4D97-AF65-F5344CB8AC3E}">
        <p14:creationId xmlns:p14="http://schemas.microsoft.com/office/powerpoint/2010/main" val="1915722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FE1B690-171F-F865-9F32-E1714FBE8797}"/>
              </a:ext>
            </a:extLst>
          </p:cNvPr>
          <p:cNvSpPr>
            <a:spLocks noGrp="1" noRot="1" noChangeAspect="1"/>
          </p:cNvSpPr>
          <p:nvPr>
            <p:ph type="sldImg"/>
          </p:nvPr>
        </p:nvSpPr>
        <p:spPr/>
      </p:sp>
    </p:spTree>
    <p:extLst>
      <p:ext uri="{BB962C8B-B14F-4D97-AF65-F5344CB8AC3E}">
        <p14:creationId xmlns:p14="http://schemas.microsoft.com/office/powerpoint/2010/main" val="272344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DF29054-C9E2-50E7-EC2D-635C535F6B3D}"/>
              </a:ext>
            </a:extLst>
          </p:cNvPr>
          <p:cNvSpPr>
            <a:spLocks noGrp="1" noRot="1" noChangeAspect="1"/>
          </p:cNvSpPr>
          <p:nvPr>
            <p:ph type="sldImg"/>
          </p:nvPr>
        </p:nvSpPr>
        <p:spPr/>
      </p:sp>
    </p:spTree>
    <p:extLst>
      <p:ext uri="{BB962C8B-B14F-4D97-AF65-F5344CB8AC3E}">
        <p14:creationId xmlns:p14="http://schemas.microsoft.com/office/powerpoint/2010/main" val="15898096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2BC395C2-1D80-493B-167B-ABE264D2B546}"/>
              </a:ext>
            </a:extLst>
          </p:cNvPr>
          <p:cNvSpPr>
            <a:spLocks noGrp="1" noRot="1" noChangeAspect="1"/>
          </p:cNvSpPr>
          <p:nvPr>
            <p:ph type="sldImg"/>
          </p:nvPr>
        </p:nvSpPr>
        <p:spPr/>
      </p:sp>
    </p:spTree>
    <p:extLst>
      <p:ext uri="{BB962C8B-B14F-4D97-AF65-F5344CB8AC3E}">
        <p14:creationId xmlns:p14="http://schemas.microsoft.com/office/powerpoint/2010/main" val="3564674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164C503-3180-5702-229D-E949E6AEC3E3}"/>
              </a:ext>
            </a:extLst>
          </p:cNvPr>
          <p:cNvSpPr>
            <a:spLocks noGrp="1" noRot="1" noChangeAspect="1"/>
          </p:cNvSpPr>
          <p:nvPr>
            <p:ph type="sldImg"/>
          </p:nvPr>
        </p:nvSpPr>
        <p:spPr/>
      </p:sp>
    </p:spTree>
    <p:extLst>
      <p:ext uri="{BB962C8B-B14F-4D97-AF65-F5344CB8AC3E}">
        <p14:creationId xmlns:p14="http://schemas.microsoft.com/office/powerpoint/2010/main" val="170226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4BE799F2-96C4-E8FF-126D-A0E4C340DC62}"/>
              </a:ext>
            </a:extLst>
          </p:cNvPr>
          <p:cNvSpPr>
            <a:spLocks noGrp="1" noRot="1" noChangeAspect="1"/>
          </p:cNvSpPr>
          <p:nvPr>
            <p:ph type="sldImg"/>
          </p:nvPr>
        </p:nvSpPr>
        <p:spPr/>
      </p:sp>
    </p:spTree>
    <p:extLst>
      <p:ext uri="{BB962C8B-B14F-4D97-AF65-F5344CB8AC3E}">
        <p14:creationId xmlns:p14="http://schemas.microsoft.com/office/powerpoint/2010/main" val="2736744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D51B9FC-8CEC-33A2-F1AD-7764E844DA66}"/>
              </a:ext>
            </a:extLst>
          </p:cNvPr>
          <p:cNvSpPr>
            <a:spLocks noGrp="1" noRot="1" noChangeAspect="1"/>
          </p:cNvSpPr>
          <p:nvPr>
            <p:ph type="sldImg"/>
          </p:nvPr>
        </p:nvSpPr>
        <p:spPr/>
      </p:sp>
    </p:spTree>
    <p:extLst>
      <p:ext uri="{BB962C8B-B14F-4D97-AF65-F5344CB8AC3E}">
        <p14:creationId xmlns:p14="http://schemas.microsoft.com/office/powerpoint/2010/main" val="3395222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137D0651-560F-C486-1E30-564406C46F21}"/>
              </a:ext>
            </a:extLst>
          </p:cNvPr>
          <p:cNvSpPr>
            <a:spLocks noGrp="1" noRot="1" noChangeAspect="1"/>
          </p:cNvSpPr>
          <p:nvPr>
            <p:ph type="sldImg"/>
          </p:nvPr>
        </p:nvSpPr>
        <p:spPr/>
      </p:sp>
    </p:spTree>
    <p:extLst>
      <p:ext uri="{BB962C8B-B14F-4D97-AF65-F5344CB8AC3E}">
        <p14:creationId xmlns:p14="http://schemas.microsoft.com/office/powerpoint/2010/main" val="3589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942116-699E-63D3-7286-84342C499106}"/>
              </a:ext>
            </a:extLst>
          </p:cNvPr>
          <p:cNvSpPr>
            <a:spLocks noGrp="1" noRot="1" noChangeAspect="1"/>
          </p:cNvSpPr>
          <p:nvPr>
            <p:ph type="sldImg"/>
          </p:nvPr>
        </p:nvSpPr>
        <p:spPr/>
      </p:sp>
    </p:spTree>
    <p:extLst>
      <p:ext uri="{BB962C8B-B14F-4D97-AF65-F5344CB8AC3E}">
        <p14:creationId xmlns:p14="http://schemas.microsoft.com/office/powerpoint/2010/main" val="4011429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6C6A78CD-97EB-931D-FD1A-343B5233C819}"/>
              </a:ext>
            </a:extLst>
          </p:cNvPr>
          <p:cNvSpPr>
            <a:spLocks noGrp="1" noRot="1" noChangeAspect="1"/>
          </p:cNvSpPr>
          <p:nvPr>
            <p:ph type="sldImg"/>
          </p:nvPr>
        </p:nvSpPr>
        <p:spPr/>
      </p:sp>
    </p:spTree>
    <p:extLst>
      <p:ext uri="{BB962C8B-B14F-4D97-AF65-F5344CB8AC3E}">
        <p14:creationId xmlns:p14="http://schemas.microsoft.com/office/powerpoint/2010/main" val="2279126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3401F2E7-8041-829C-DED0-325FCC9D3525}"/>
              </a:ext>
            </a:extLst>
          </p:cNvPr>
          <p:cNvSpPr>
            <a:spLocks noGrp="1" noRot="1" noChangeAspect="1"/>
          </p:cNvSpPr>
          <p:nvPr>
            <p:ph type="sldImg"/>
          </p:nvPr>
        </p:nvSpPr>
        <p:spPr/>
      </p:sp>
    </p:spTree>
    <p:extLst>
      <p:ext uri="{BB962C8B-B14F-4D97-AF65-F5344CB8AC3E}">
        <p14:creationId xmlns:p14="http://schemas.microsoft.com/office/powerpoint/2010/main" val="1923342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C287B835-665A-4E1B-AB9E-AAB136A09F1F}"/>
              </a:ext>
            </a:extLst>
          </p:cNvPr>
          <p:cNvSpPr>
            <a:spLocks noGrp="1" noRot="1" noChangeAspect="1"/>
          </p:cNvSpPr>
          <p:nvPr>
            <p:ph type="sldImg"/>
          </p:nvPr>
        </p:nvSpPr>
        <p:spPr/>
      </p:sp>
    </p:spTree>
    <p:extLst>
      <p:ext uri="{BB962C8B-B14F-4D97-AF65-F5344CB8AC3E}">
        <p14:creationId xmlns:p14="http://schemas.microsoft.com/office/powerpoint/2010/main" val="1082330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AD6740AC-04B6-9DDA-FC81-E18D55B78BEF}"/>
              </a:ext>
            </a:extLst>
          </p:cNvPr>
          <p:cNvSpPr>
            <a:spLocks noGrp="1" noRot="1" noChangeAspect="1"/>
          </p:cNvSpPr>
          <p:nvPr>
            <p:ph type="sldImg"/>
          </p:nvPr>
        </p:nvSpPr>
        <p:spPr/>
      </p:sp>
    </p:spTree>
    <p:extLst>
      <p:ext uri="{BB962C8B-B14F-4D97-AF65-F5344CB8AC3E}">
        <p14:creationId xmlns:p14="http://schemas.microsoft.com/office/powerpoint/2010/main" val="279883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2586053F-CBF6-CE88-43AC-CD795CB24D5F}"/>
              </a:ext>
            </a:extLst>
          </p:cNvPr>
          <p:cNvSpPr>
            <a:spLocks noGrp="1" noRot="1" noChangeAspect="1"/>
          </p:cNvSpPr>
          <p:nvPr>
            <p:ph type="sldImg"/>
          </p:nvPr>
        </p:nvSpPr>
        <p:spPr/>
      </p:sp>
    </p:spTree>
    <p:extLst>
      <p:ext uri="{BB962C8B-B14F-4D97-AF65-F5344CB8AC3E}">
        <p14:creationId xmlns:p14="http://schemas.microsoft.com/office/powerpoint/2010/main" val="1800379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BFEEDF0E-046C-A1A2-8331-48B41035DAAF}"/>
              </a:ext>
            </a:extLst>
          </p:cNvPr>
          <p:cNvSpPr>
            <a:spLocks noGrp="1" noRot="1" noChangeAspect="1"/>
          </p:cNvSpPr>
          <p:nvPr>
            <p:ph type="sldImg"/>
          </p:nvPr>
        </p:nvSpPr>
        <p:spPr/>
      </p:sp>
    </p:spTree>
    <p:extLst>
      <p:ext uri="{BB962C8B-B14F-4D97-AF65-F5344CB8AC3E}">
        <p14:creationId xmlns:p14="http://schemas.microsoft.com/office/powerpoint/2010/main" val="38321362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E11C6F7-524D-CEDD-46D3-4C69ED27E4DD}"/>
              </a:ext>
            </a:extLst>
          </p:cNvPr>
          <p:cNvSpPr>
            <a:spLocks noGrp="1" noRot="1" noChangeAspect="1"/>
          </p:cNvSpPr>
          <p:nvPr>
            <p:ph type="sldImg"/>
          </p:nvPr>
        </p:nvSpPr>
        <p:spPr/>
      </p:sp>
    </p:spTree>
    <p:extLst>
      <p:ext uri="{BB962C8B-B14F-4D97-AF65-F5344CB8AC3E}">
        <p14:creationId xmlns:p14="http://schemas.microsoft.com/office/powerpoint/2010/main" val="479526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5FB79AE2-5E70-DD54-15FA-784660C827B0}"/>
              </a:ext>
            </a:extLst>
          </p:cNvPr>
          <p:cNvSpPr>
            <a:spLocks noGrp="1" noRot="1" noChangeAspect="1"/>
          </p:cNvSpPr>
          <p:nvPr>
            <p:ph type="sldImg"/>
          </p:nvPr>
        </p:nvSpPr>
        <p:spPr/>
      </p:sp>
    </p:spTree>
    <p:extLst>
      <p:ext uri="{BB962C8B-B14F-4D97-AF65-F5344CB8AC3E}">
        <p14:creationId xmlns:p14="http://schemas.microsoft.com/office/powerpoint/2010/main" val="37631163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D7267C37-AB67-8C0B-2275-0A06D142CA2E}"/>
              </a:ext>
            </a:extLst>
          </p:cNvPr>
          <p:cNvSpPr>
            <a:spLocks noGrp="1" noRot="1" noChangeAspect="1"/>
          </p:cNvSpPr>
          <p:nvPr>
            <p:ph type="sldImg"/>
          </p:nvPr>
        </p:nvSpPr>
        <p:spPr/>
      </p:sp>
    </p:spTree>
    <p:extLst>
      <p:ext uri="{BB962C8B-B14F-4D97-AF65-F5344CB8AC3E}">
        <p14:creationId xmlns:p14="http://schemas.microsoft.com/office/powerpoint/2010/main" val="752567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88EE6CF6-DFD3-C9C2-4648-2AB0E7C87BDB}"/>
              </a:ext>
            </a:extLst>
          </p:cNvPr>
          <p:cNvSpPr>
            <a:spLocks noGrp="1" noRot="1" noChangeAspect="1"/>
          </p:cNvSpPr>
          <p:nvPr>
            <p:ph type="sldImg"/>
          </p:nvPr>
        </p:nvSpPr>
        <p:spPr/>
      </p:sp>
    </p:spTree>
    <p:extLst>
      <p:ext uri="{BB962C8B-B14F-4D97-AF65-F5344CB8AC3E}">
        <p14:creationId xmlns:p14="http://schemas.microsoft.com/office/powerpoint/2010/main" val="2407673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399FCE1-F10A-6716-5647-DF9F5B71B39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1202AEF-576A-A4A7-9AFE-D0145A6064F9}"/>
              </a:ext>
            </a:extLst>
          </p:cNvPr>
          <p:cNvSpPr>
            <a:spLocks noGrp="1" noRot="1" noChangeAspect="1"/>
          </p:cNvSpPr>
          <p:nvPr>
            <p:ph type="sldImg"/>
          </p:nvPr>
        </p:nvSpPr>
        <p:spPr/>
      </p:sp>
    </p:spTree>
    <p:extLst>
      <p:ext uri="{BB962C8B-B14F-4D97-AF65-F5344CB8AC3E}">
        <p14:creationId xmlns:p14="http://schemas.microsoft.com/office/powerpoint/2010/main" val="8294947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3C7F5A85-4880-B7C8-28B1-F647EF500EF8}"/>
              </a:ext>
            </a:extLst>
          </p:cNvPr>
          <p:cNvSpPr>
            <a:spLocks noGrp="1" noRot="1" noChangeAspect="1"/>
          </p:cNvSpPr>
          <p:nvPr>
            <p:ph type="sldImg"/>
          </p:nvPr>
        </p:nvSpPr>
        <p:spPr/>
      </p:sp>
    </p:spTree>
    <p:extLst>
      <p:ext uri="{BB962C8B-B14F-4D97-AF65-F5344CB8AC3E}">
        <p14:creationId xmlns:p14="http://schemas.microsoft.com/office/powerpoint/2010/main" val="209337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691A0D-422D-8BCC-D20C-95170EA7DFA8}"/>
              </a:ext>
            </a:extLst>
          </p:cNvPr>
          <p:cNvSpPr>
            <a:spLocks noGrp="1" noRot="1" noChangeAspect="1"/>
          </p:cNvSpPr>
          <p:nvPr>
            <p:ph type="sldImg"/>
          </p:nvPr>
        </p:nvSpPr>
        <p:spPr/>
      </p:sp>
    </p:spTree>
    <p:extLst>
      <p:ext uri="{BB962C8B-B14F-4D97-AF65-F5344CB8AC3E}">
        <p14:creationId xmlns:p14="http://schemas.microsoft.com/office/powerpoint/2010/main" val="1588010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3AFD58C4-CFD8-EB7B-700D-18F9C98A2C20}"/>
              </a:ext>
            </a:extLst>
          </p:cNvPr>
          <p:cNvSpPr>
            <a:spLocks noGrp="1" noRot="1" noChangeAspect="1"/>
          </p:cNvSpPr>
          <p:nvPr>
            <p:ph type="sldImg"/>
          </p:nvPr>
        </p:nvSpPr>
        <p:spPr/>
      </p:sp>
    </p:spTree>
    <p:extLst>
      <p:ext uri="{BB962C8B-B14F-4D97-AF65-F5344CB8AC3E}">
        <p14:creationId xmlns:p14="http://schemas.microsoft.com/office/powerpoint/2010/main" val="23580898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C168D254-91FF-B025-05C2-70C8292DA301}"/>
              </a:ext>
            </a:extLst>
          </p:cNvPr>
          <p:cNvSpPr>
            <a:spLocks noGrp="1" noRot="1" noChangeAspect="1"/>
          </p:cNvSpPr>
          <p:nvPr>
            <p:ph type="sldImg"/>
          </p:nvPr>
        </p:nvSpPr>
        <p:spPr/>
      </p:sp>
    </p:spTree>
    <p:extLst>
      <p:ext uri="{BB962C8B-B14F-4D97-AF65-F5344CB8AC3E}">
        <p14:creationId xmlns:p14="http://schemas.microsoft.com/office/powerpoint/2010/main" val="40717840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AD0A6016-16A0-FC14-5194-79EE0998C5A0}"/>
              </a:ext>
            </a:extLst>
          </p:cNvPr>
          <p:cNvSpPr>
            <a:spLocks noGrp="1" noRot="1" noChangeAspect="1"/>
          </p:cNvSpPr>
          <p:nvPr>
            <p:ph type="sldImg"/>
          </p:nvPr>
        </p:nvSpPr>
        <p:spPr/>
      </p:sp>
    </p:spTree>
    <p:extLst>
      <p:ext uri="{BB962C8B-B14F-4D97-AF65-F5344CB8AC3E}">
        <p14:creationId xmlns:p14="http://schemas.microsoft.com/office/powerpoint/2010/main" val="3390438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976312BA-7C55-A690-284E-5CA31D384197}"/>
              </a:ext>
            </a:extLst>
          </p:cNvPr>
          <p:cNvSpPr>
            <a:spLocks noGrp="1" noRot="1" noChangeAspect="1"/>
          </p:cNvSpPr>
          <p:nvPr>
            <p:ph type="sldImg"/>
          </p:nvPr>
        </p:nvSpPr>
        <p:spPr/>
      </p:sp>
    </p:spTree>
    <p:extLst>
      <p:ext uri="{BB962C8B-B14F-4D97-AF65-F5344CB8AC3E}">
        <p14:creationId xmlns:p14="http://schemas.microsoft.com/office/powerpoint/2010/main" val="25770870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7C3A8568-6363-E3FC-4E58-05AB62F7390A}"/>
              </a:ext>
            </a:extLst>
          </p:cNvPr>
          <p:cNvSpPr>
            <a:spLocks noGrp="1" noRot="1" noChangeAspect="1"/>
          </p:cNvSpPr>
          <p:nvPr>
            <p:ph type="sldImg"/>
          </p:nvPr>
        </p:nvSpPr>
        <p:spPr/>
      </p:sp>
    </p:spTree>
    <p:extLst>
      <p:ext uri="{BB962C8B-B14F-4D97-AF65-F5344CB8AC3E}">
        <p14:creationId xmlns:p14="http://schemas.microsoft.com/office/powerpoint/2010/main" val="24283512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38959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DDB2100F-574C-410C-00AC-4237CA641C40}"/>
              </a:ext>
            </a:extLst>
          </p:cNvPr>
          <p:cNvSpPr>
            <a:spLocks noGrp="1" noRot="1" noChangeAspect="1"/>
          </p:cNvSpPr>
          <p:nvPr>
            <p:ph type="sldImg"/>
          </p:nvPr>
        </p:nvSpPr>
        <p:spPr/>
      </p:sp>
    </p:spTree>
    <p:extLst>
      <p:ext uri="{BB962C8B-B14F-4D97-AF65-F5344CB8AC3E}">
        <p14:creationId xmlns:p14="http://schemas.microsoft.com/office/powerpoint/2010/main" val="1243580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F4DC2C8-82AE-27F7-5D15-91D0E2F1A718}"/>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6EEB4C0B-EF46-B5A6-C49D-6D2271FC9871}"/>
              </a:ext>
            </a:extLst>
          </p:cNvPr>
          <p:cNvSpPr>
            <a:spLocks noGrp="1" noRot="1" noChangeAspect="1"/>
          </p:cNvSpPr>
          <p:nvPr>
            <p:ph type="sldImg"/>
          </p:nvPr>
        </p:nvSpPr>
        <p:spPr/>
      </p:sp>
    </p:spTree>
    <p:extLst>
      <p:ext uri="{BB962C8B-B14F-4D97-AF65-F5344CB8AC3E}">
        <p14:creationId xmlns:p14="http://schemas.microsoft.com/office/powerpoint/2010/main" val="18971758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D8B5B5F8-2970-D7B0-6C6D-6C9ED287C67D}"/>
              </a:ext>
            </a:extLst>
          </p:cNvPr>
          <p:cNvSpPr>
            <a:spLocks noGrp="1" noRot="1" noChangeAspect="1"/>
          </p:cNvSpPr>
          <p:nvPr>
            <p:ph type="sldImg"/>
          </p:nvPr>
        </p:nvSpPr>
        <p:spPr/>
      </p:sp>
    </p:spTree>
    <p:extLst>
      <p:ext uri="{BB962C8B-B14F-4D97-AF65-F5344CB8AC3E}">
        <p14:creationId xmlns:p14="http://schemas.microsoft.com/office/powerpoint/2010/main" val="32023743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10" name="スライド イメージ プレースホルダー 9">
            <a:extLst>
              <a:ext uri="{FF2B5EF4-FFF2-40B4-BE49-F238E27FC236}">
                <a16:creationId xmlns:a16="http://schemas.microsoft.com/office/drawing/2014/main" id="{8187F00E-F67C-7297-3CBF-AE5B568B4900}"/>
              </a:ext>
            </a:extLst>
          </p:cNvPr>
          <p:cNvSpPr>
            <a:spLocks noGrp="1" noRot="1" noChangeAspect="1"/>
          </p:cNvSpPr>
          <p:nvPr>
            <p:ph type="sldImg"/>
          </p:nvPr>
        </p:nvSpPr>
        <p:spPr/>
      </p:sp>
    </p:spTree>
    <p:extLst>
      <p:ext uri="{BB962C8B-B14F-4D97-AF65-F5344CB8AC3E}">
        <p14:creationId xmlns:p14="http://schemas.microsoft.com/office/powerpoint/2010/main" val="3209475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A704E58E-3CC1-3D6E-463A-B4925B713554}"/>
              </a:ext>
            </a:extLst>
          </p:cNvPr>
          <p:cNvSpPr>
            <a:spLocks noGrp="1" noRot="1" noChangeAspect="1"/>
          </p:cNvSpPr>
          <p:nvPr>
            <p:ph type="sldImg"/>
          </p:nvPr>
        </p:nvSpPr>
        <p:spPr/>
      </p:sp>
    </p:spTree>
    <p:extLst>
      <p:ext uri="{BB962C8B-B14F-4D97-AF65-F5344CB8AC3E}">
        <p14:creationId xmlns:p14="http://schemas.microsoft.com/office/powerpoint/2010/main" val="35921821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69C53C35-EB8E-8B80-3238-03EF13EBB066}"/>
              </a:ext>
            </a:extLst>
          </p:cNvPr>
          <p:cNvSpPr>
            <a:spLocks noGrp="1" noRot="1" noChangeAspect="1"/>
          </p:cNvSpPr>
          <p:nvPr>
            <p:ph type="sldImg"/>
          </p:nvPr>
        </p:nvSpPr>
        <p:spPr/>
      </p:sp>
    </p:spTree>
    <p:extLst>
      <p:ext uri="{BB962C8B-B14F-4D97-AF65-F5344CB8AC3E}">
        <p14:creationId xmlns:p14="http://schemas.microsoft.com/office/powerpoint/2010/main" val="36596273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928422FE-79F5-5037-8FFA-B6DBABCE13F8}"/>
              </a:ext>
            </a:extLst>
          </p:cNvPr>
          <p:cNvSpPr>
            <a:spLocks noGrp="1" noRot="1" noChangeAspect="1"/>
          </p:cNvSpPr>
          <p:nvPr>
            <p:ph type="sldImg"/>
          </p:nvPr>
        </p:nvSpPr>
        <p:spPr/>
      </p:sp>
    </p:spTree>
    <p:extLst>
      <p:ext uri="{BB962C8B-B14F-4D97-AF65-F5344CB8AC3E}">
        <p14:creationId xmlns:p14="http://schemas.microsoft.com/office/powerpoint/2010/main" val="39544541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B89ABC8-70C6-E0B2-EA7B-EF987D743575}"/>
              </a:ext>
            </a:extLst>
          </p:cNvPr>
          <p:cNvSpPr>
            <a:spLocks noGrp="1" noRot="1" noChangeAspect="1"/>
          </p:cNvSpPr>
          <p:nvPr>
            <p:ph type="sldImg"/>
          </p:nvPr>
        </p:nvSpPr>
        <p:spPr/>
      </p:sp>
    </p:spTree>
    <p:extLst>
      <p:ext uri="{BB962C8B-B14F-4D97-AF65-F5344CB8AC3E}">
        <p14:creationId xmlns:p14="http://schemas.microsoft.com/office/powerpoint/2010/main" val="20876927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3</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48EFB7CF-D013-37EC-D744-D1C66633ED9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10" name="スライド イメージ プレースホルダー 9">
            <a:extLst>
              <a:ext uri="{FF2B5EF4-FFF2-40B4-BE49-F238E27FC236}">
                <a16:creationId xmlns:a16="http://schemas.microsoft.com/office/drawing/2014/main" id="{14E8A9AF-825D-6C8A-D47C-9BC2D7F94778}"/>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E6DB8D32-2FB7-912F-ADF3-A7849426C21F}"/>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2EC5E41F-BEE5-5BA5-227E-30D852F4FF8B}"/>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B0E9F8CB-ACB5-4D25-E6D2-577ED3E8F58A}"/>
              </a:ext>
            </a:extLst>
          </p:cNvPr>
          <p:cNvSpPr>
            <a:spLocks noGrp="1" noRot="1" noChangeAspect="1"/>
          </p:cNvSpPr>
          <p:nvPr>
            <p:ph type="sldImg"/>
          </p:nvPr>
        </p:nvSpPr>
        <p:spPr/>
      </p:sp>
    </p:spTree>
    <p:extLst>
      <p:ext uri="{BB962C8B-B14F-4D97-AF65-F5344CB8AC3E}">
        <p14:creationId xmlns:p14="http://schemas.microsoft.com/office/powerpoint/2010/main" val="40587691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21.jpeg" Type="http://schemas.openxmlformats.org/officeDocument/2006/relationships/image"/><Relationship Id="rId5" Target="../media/image2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23.jpeg" Type="http://schemas.openxmlformats.org/officeDocument/2006/relationships/image"/><Relationship Id="rId5" Target="../media/image2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5.png" Type="http://schemas.openxmlformats.org/officeDocument/2006/relationships/image"/><Relationship Id="rId5" Target="../media/image2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8.png" Type="http://schemas.openxmlformats.org/officeDocument/2006/relationships/image"/><Relationship Id="rId5" Target="../media/image2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30.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1.png" Type="http://schemas.openxmlformats.org/officeDocument/2006/relationships/image"/><Relationship Id="rId5" Target="../media/image32.png" Type="http://schemas.openxmlformats.org/officeDocument/2006/relationships/image"/><Relationship Id="rId6" Target="../media/image33.jpe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4.png" Type="http://schemas.openxmlformats.org/officeDocument/2006/relationships/image"/><Relationship Id="rId5" Target="../media/image3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6.png" Type="http://schemas.openxmlformats.org/officeDocument/2006/relationships/image"/><Relationship Id="rId5" Target="../media/image3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8.png" Type="http://schemas.openxmlformats.org/officeDocument/2006/relationships/image"/><Relationship Id="rId5" Target="../media/image2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png" Type="http://schemas.openxmlformats.org/officeDocument/2006/relationships/image"/></Relationships>
</file>

<file path=ppt/slides/_rels/slide20.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9.jpeg" Type="http://schemas.openxmlformats.org/officeDocument/2006/relationships/image"/><Relationship Id="rId5" Target="../media/image4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41.png" Type="http://schemas.openxmlformats.org/officeDocument/2006/relationships/image"/><Relationship Id="rId5" Target="../media/image4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4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29.jpeg" Type="http://schemas.openxmlformats.org/officeDocument/2006/relationships/image"/><Relationship Id="rId5" Target="../media/image4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5.png" Type="http://schemas.openxmlformats.org/officeDocument/2006/relationships/image"/><Relationship Id="rId5" Target="../media/image4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7.png" Type="http://schemas.openxmlformats.org/officeDocument/2006/relationships/image"/><Relationship Id="rId5" Target="../media/image4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9.png" Type="http://schemas.openxmlformats.org/officeDocument/2006/relationships/image"/><Relationship Id="rId5" Target="../media/image5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5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5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5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3.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4.jpg" Type="http://schemas.openxmlformats.org/officeDocument/2006/relationships/image"/><Relationship Id="rId7" Target="../media/image5.jpg" Type="http://schemas.openxmlformats.org/officeDocument/2006/relationships/image"/><Relationship Id="rId8" Target="../media/image6.png" Type="http://schemas.openxmlformats.org/officeDocument/2006/relationships/image"/></Relationships>
</file>

<file path=ppt/slides/_rels/slide30.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54.png" Type="http://schemas.openxmlformats.org/officeDocument/2006/relationships/image"/><Relationship Id="rId5" Target="../media/image5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6.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7.png" Type="http://schemas.openxmlformats.org/officeDocument/2006/relationships/image"/><Relationship Id="rId5" Target="../media/image5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9.png" Type="http://schemas.openxmlformats.org/officeDocument/2006/relationships/image"/><Relationship Id="rId5" Target="../media/image6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61.png" Type="http://schemas.openxmlformats.org/officeDocument/2006/relationships/image"/><Relationship Id="rId5" Target="../media/image6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63.png" Type="http://schemas.openxmlformats.org/officeDocument/2006/relationships/image"/><Relationship Id="rId5" Target="../media/image6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65.png" Type="http://schemas.openxmlformats.org/officeDocument/2006/relationships/image"/><Relationship Id="rId5" Target="../media/image6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7.png" Type="http://schemas.openxmlformats.org/officeDocument/2006/relationships/image"/><Relationship Id="rId5" Target="../media/image6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38.png" Type="http://schemas.openxmlformats.org/officeDocument/2006/relationships/image"/><Relationship Id="rId5" Target="../media/image2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media/image7.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8.jpeg" Type="http://schemas.openxmlformats.org/officeDocument/2006/relationships/image"/></Relationships>
</file>

<file path=ppt/slides/_rels/slide40.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70.jpeg" Type="http://schemas.openxmlformats.org/officeDocument/2006/relationships/image"/><Relationship Id="rId5" Target="../media/image7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72.jpeg" Type="http://schemas.openxmlformats.org/officeDocument/2006/relationships/image"/><Relationship Id="rId5" Target="../media/image7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74.jpeg" Type="http://schemas.openxmlformats.org/officeDocument/2006/relationships/image"/><Relationship Id="rId5" Target="../media/image7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76.jpeg" Type="http://schemas.openxmlformats.org/officeDocument/2006/relationships/image"/><Relationship Id="rId5" Target="../media/image7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77.png" Type="http://schemas.openxmlformats.org/officeDocument/2006/relationships/image"/><Relationship Id="rId5" Target="../media/image7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78.png" Type="http://schemas.openxmlformats.org/officeDocument/2006/relationships/image"/><Relationship Id="rId5" Target="../media/image7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80.png" Type="http://schemas.openxmlformats.org/officeDocument/2006/relationships/image"/><Relationship Id="rId7" Target="../media/image81.wmf" Type="http://schemas.openxmlformats.org/officeDocument/2006/relationships/image"/></Relationships>
</file>

<file path=ppt/slides/_rels/slide47.xml.rels><?xml version="1.0" encoding="UTF-8" standalone="yes"?><Relationships xmlns="http://schemas.openxmlformats.org/package/2006/relationships"><Relationship Id="rId1" Target="../tags/tag48.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5.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media/image9.png" Type="http://schemas.openxmlformats.org/officeDocument/2006/relationships/image"/><Relationship Id="rId5" Target="../media/image1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11.png" Type="http://schemas.openxmlformats.org/officeDocument/2006/relationships/image"/><Relationship Id="rId5" Target="../media/image12.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13.png" Type="http://schemas.openxmlformats.org/officeDocument/2006/relationships/image"/></Relationships>
</file>

<file path=ppt/slides/_rels/slide7.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14.png" Type="http://schemas.openxmlformats.org/officeDocument/2006/relationships/image"/><Relationship Id="rId5" Target="../media/image15.jpe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6.png" Type="http://schemas.openxmlformats.org/officeDocument/2006/relationships/image"/><Relationship Id="rId5" Target="../media/image17.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8.jpeg" Type="http://schemas.openxmlformats.org/officeDocument/2006/relationships/image"/><Relationship Id="rId5" Target="../media/image1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0.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30830" y="2313608"/>
            <a:ext cx="62266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服薬指導アプリ</a:t>
            </a:r>
            <a:r>
              <a:rPr lang="en-US" altLang="ja-JP" sz="4799" dirty="0">
                <a:solidFill>
                  <a:srgbClr val="4472C4"/>
                </a:solidFill>
                <a:latin typeface="BIZ UDPゴシック" panose="020B0400000000000000" pitchFamily="50" charset="-128"/>
                <a:ea typeface="BIZ UDPゴシック" panose="020B0400000000000000" pitchFamily="50" charset="-128"/>
              </a:rPr>
              <a:t>CLINICS </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4222912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81760567-9BF2-97C5-22F3-935F747462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768" y="241425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93574F6F-099C-0F01-59B1-19B725349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843"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電話番号で登録」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5CE9E824-145F-C943-A9B5-C96BFD384EDF}"/>
              </a:ext>
            </a:extLst>
          </p:cNvPr>
          <p:cNvSpPr/>
          <p:nvPr/>
        </p:nvSpPr>
        <p:spPr>
          <a:xfrm>
            <a:off x="1302847" y="484524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96A93C7-A519-AD0E-C92C-F8AF0D04434C}"/>
              </a:ext>
            </a:extLst>
          </p:cNvPr>
          <p:cNvSpPr/>
          <p:nvPr/>
        </p:nvSpPr>
        <p:spPr>
          <a:xfrm>
            <a:off x="5481073" y="4463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73CC5E8-47E3-28A3-5C13-BC2600DE99C6}"/>
              </a:ext>
            </a:extLst>
          </p:cNvPr>
          <p:cNvSpPr txBox="1"/>
          <p:nvPr/>
        </p:nvSpPr>
        <p:spPr>
          <a:xfrm>
            <a:off x="7874953" y="3056890"/>
            <a:ext cx="1243843"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他の方法でも登録可能ですが、本教材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番号で登録」で進めさせていただきます</a:t>
            </a:r>
          </a:p>
        </p:txBody>
      </p:sp>
    </p:spTree>
    <p:extLst>
      <p:ext uri="{BB962C8B-B14F-4D97-AF65-F5344CB8AC3E}">
        <p14:creationId xmlns:p14="http://schemas.microsoft.com/office/powerpoint/2010/main" val="132583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7">
            <a:extLst>
              <a:ext uri="{FF2B5EF4-FFF2-40B4-BE49-F238E27FC236}">
                <a16:creationId xmlns:a16="http://schemas.microsoft.com/office/drawing/2014/main" id="{CDF10EBA-E098-4683-FE89-1B7C18342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DD88D754-7894-D011-3699-A2BABC577C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678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姓名・生年月日・性別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メールアドレス（任意）を入力、パスワードを設定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FC313626-F9F5-37A4-3942-0E0292537C8B}"/>
              </a:ext>
            </a:extLst>
          </p:cNvPr>
          <p:cNvSpPr/>
          <p:nvPr/>
        </p:nvSpPr>
        <p:spPr>
          <a:xfrm>
            <a:off x="1295080" y="3429000"/>
            <a:ext cx="2291137" cy="1137782"/>
          </a:xfrm>
          <a:prstGeom prst="roundRect">
            <a:avLst>
              <a:gd name="adj" fmla="val 1344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6FD847CB-FDBA-0AD6-D02F-36EFDBA62F05}"/>
              </a:ext>
            </a:extLst>
          </p:cNvPr>
          <p:cNvSpPr/>
          <p:nvPr/>
        </p:nvSpPr>
        <p:spPr>
          <a:xfrm>
            <a:off x="1295080" y="483848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2D1BA7-2831-1783-DB72-3947D6D85C75}"/>
              </a:ext>
            </a:extLst>
          </p:cNvPr>
          <p:cNvSpPr/>
          <p:nvPr/>
        </p:nvSpPr>
        <p:spPr>
          <a:xfrm>
            <a:off x="1295081" y="5578795"/>
            <a:ext cx="834934" cy="655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D4C19207-61A3-326E-1FEE-848F44D63752}"/>
              </a:ext>
            </a:extLst>
          </p:cNvPr>
          <p:cNvSpPr/>
          <p:nvPr/>
        </p:nvSpPr>
        <p:spPr>
          <a:xfrm>
            <a:off x="5450619" y="3273395"/>
            <a:ext cx="2291137" cy="6533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AF955BE9-5047-E9B1-0C72-0194EB825702}"/>
              </a:ext>
            </a:extLst>
          </p:cNvPr>
          <p:cNvSpPr/>
          <p:nvPr/>
        </p:nvSpPr>
        <p:spPr>
          <a:xfrm>
            <a:off x="5450619" y="3984209"/>
            <a:ext cx="2291137" cy="6533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8E620BAE-0D72-36BD-C00C-BFC06AF0C0AA}"/>
              </a:ext>
            </a:extLst>
          </p:cNvPr>
          <p:cNvSpPr/>
          <p:nvPr/>
        </p:nvSpPr>
        <p:spPr>
          <a:xfrm>
            <a:off x="5450619" y="4692427"/>
            <a:ext cx="2291137" cy="1065994"/>
          </a:xfrm>
          <a:prstGeom prst="roundRect">
            <a:avLst>
              <a:gd name="adj" fmla="val 1637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3203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A790BD2-C111-E987-E21C-FFC299E02A7E}"/>
              </a:ext>
            </a:extLst>
          </p:cNvPr>
          <p:cNvPicPr>
            <a:picLocks noChangeAspect="1"/>
          </p:cNvPicPr>
          <p:nvPr/>
        </p:nvPicPr>
        <p:blipFill>
          <a:blip r:embed="rId4"/>
          <a:stretch>
            <a:fillRect/>
          </a:stretch>
        </p:blipFill>
        <p:spPr>
          <a:xfrm>
            <a:off x="5406417" y="2394954"/>
            <a:ext cx="2450804" cy="4340728"/>
          </a:xfrm>
          <a:prstGeom prst="rect">
            <a:avLst/>
          </a:prstGeom>
        </p:spPr>
      </p:pic>
      <p:pic>
        <p:nvPicPr>
          <p:cNvPr id="22" name="Picture 8">
            <a:extLst>
              <a:ext uri="{FF2B5EF4-FFF2-40B4-BE49-F238E27FC236}">
                <a16:creationId xmlns:a16="http://schemas.microsoft.com/office/drawing/2014/main" id="{36DFFC6C-7374-7BA8-166C-744C4FEE56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4601"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3902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52992"/>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アドレスに届く</a:t>
            </a:r>
            <a:r>
              <a:rPr lang="en-US" altLang="ja-JP" sz="1800" dirty="0">
                <a:solidFill>
                  <a:prstClr val="black"/>
                </a:solidFill>
                <a:latin typeface="BIZ UDPゴシック" panose="020B0400000000000000" pitchFamily="50" charset="-128"/>
                <a:ea typeface="BIZ UDPゴシック" panose="020B0400000000000000" pitchFamily="50" charset="-128"/>
              </a:rPr>
              <a:t>6</a:t>
            </a:r>
            <a:r>
              <a:rPr lang="ja-JP" altLang="en-US" sz="1800" dirty="0">
                <a:solidFill>
                  <a:prstClr val="black"/>
                </a:solidFill>
                <a:latin typeface="BIZ UDPゴシック" panose="020B0400000000000000" pitchFamily="50" charset="-128"/>
                <a:ea typeface="BIZ UDPゴシック" panose="020B0400000000000000" pitchFamily="50" charset="-128"/>
              </a:rPr>
              <a:t>ケタの認証コ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7" name="四角形: 角を丸くする 26">
            <a:extLst>
              <a:ext uri="{FF2B5EF4-FFF2-40B4-BE49-F238E27FC236}">
                <a16:creationId xmlns:a16="http://schemas.microsoft.com/office/drawing/2014/main" id="{898B6C9C-9BB3-38F6-1DF4-4201FF69302A}"/>
              </a:ext>
            </a:extLst>
          </p:cNvPr>
          <p:cNvSpPr/>
          <p:nvPr/>
        </p:nvSpPr>
        <p:spPr>
          <a:xfrm>
            <a:off x="1313605" y="46482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F707498B-B0B1-1EB9-89FA-B0040C163440}"/>
              </a:ext>
            </a:extLst>
          </p:cNvPr>
          <p:cNvSpPr/>
          <p:nvPr/>
        </p:nvSpPr>
        <p:spPr>
          <a:xfrm>
            <a:off x="5464468" y="34770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28723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D3F521-67A9-1241-1E6F-1F29EEEB1824}"/>
              </a:ext>
            </a:extLst>
          </p:cNvPr>
          <p:cNvPicPr>
            <a:picLocks noChangeAspect="1"/>
          </p:cNvPicPr>
          <p:nvPr/>
        </p:nvPicPr>
        <p:blipFill>
          <a:blip r:embed="rId4"/>
          <a:stretch>
            <a:fillRect/>
          </a:stretch>
        </p:blipFill>
        <p:spPr>
          <a:xfrm>
            <a:off x="3345697" y="2411992"/>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2" name="四角形: 角を丸くする 21">
            <a:extLst>
              <a:ext uri="{FF2B5EF4-FFF2-40B4-BE49-F238E27FC236}">
                <a16:creationId xmlns:a16="http://schemas.microsoft.com/office/drawing/2014/main" id="{8BD1D68D-CD95-9E47-E7A7-57C6DABCE255}"/>
              </a:ext>
            </a:extLst>
          </p:cNvPr>
          <p:cNvSpPr/>
          <p:nvPr/>
        </p:nvSpPr>
        <p:spPr>
          <a:xfrm>
            <a:off x="3427633" y="464291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149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3DF42B-C62C-EFCD-1074-3EA8FF332605}"/>
              </a:ext>
            </a:extLst>
          </p:cNvPr>
          <p:cNvPicPr>
            <a:picLocks noChangeAspect="1"/>
          </p:cNvPicPr>
          <p:nvPr/>
        </p:nvPicPr>
        <p:blipFill>
          <a:blip r:embed="rId4"/>
          <a:stretch>
            <a:fillRect/>
          </a:stretch>
        </p:blipFill>
        <p:spPr>
          <a:xfrm>
            <a:off x="5406238" y="2384533"/>
            <a:ext cx="2450804" cy="4346825"/>
          </a:xfrm>
          <a:prstGeom prst="rect">
            <a:avLst/>
          </a:prstGeom>
        </p:spPr>
      </p:pic>
      <p:pic>
        <p:nvPicPr>
          <p:cNvPr id="22" name="Picture 3">
            <a:extLst>
              <a:ext uri="{FF2B5EF4-FFF2-40B4-BE49-F238E27FC236}">
                <a16:creationId xmlns:a16="http://schemas.microsoft.com/office/drawing/2014/main" id="{FFF82345-FF0F-BD60-59BE-B8162CC3B0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2446" y="23979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い</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19763" y="2544485"/>
            <a:ext cx="474520" cy="29463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
        <p:nvSpPr>
          <p:cNvPr id="7" name="四角形: 角を丸くする 6">
            <a:extLst>
              <a:ext uri="{FF2B5EF4-FFF2-40B4-BE49-F238E27FC236}">
                <a16:creationId xmlns:a16="http://schemas.microsoft.com/office/drawing/2014/main" id="{D001D7E0-1B3B-1AAA-BD10-63CED752ECF7}"/>
              </a:ext>
            </a:extLst>
          </p:cNvPr>
          <p:cNvSpPr/>
          <p:nvPr/>
        </p:nvSpPr>
        <p:spPr>
          <a:xfrm>
            <a:off x="5450369" y="327164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BBB5CF1-D004-8EC9-3245-01BCB81E4A22}"/>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2423344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F1D369D-9A52-D16F-1920-0F5B0F5A5424}"/>
              </a:ext>
            </a:extLst>
          </p:cNvPr>
          <p:cNvPicPr>
            <a:picLocks noChangeAspect="1"/>
          </p:cNvPicPr>
          <p:nvPr/>
        </p:nvPicPr>
        <p:blipFill>
          <a:blip r:embed="rId4"/>
          <a:stretch>
            <a:fillRect/>
          </a:stretch>
        </p:blipFill>
        <p:spPr>
          <a:xfrm>
            <a:off x="3346598" y="2416076"/>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8" name="四角形: 角を丸くする 7">
            <a:extLst>
              <a:ext uri="{FF2B5EF4-FFF2-40B4-BE49-F238E27FC236}">
                <a16:creationId xmlns:a16="http://schemas.microsoft.com/office/drawing/2014/main" id="{E7E093D4-A3E5-FD2D-1E82-3BA0C3A40125}"/>
              </a:ext>
            </a:extLst>
          </p:cNvPr>
          <p:cNvSpPr/>
          <p:nvPr/>
        </p:nvSpPr>
        <p:spPr>
          <a:xfrm>
            <a:off x="3393252" y="3203725"/>
            <a:ext cx="2291137" cy="4428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E01981A7-B1CD-806B-866C-9E22772DE8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270751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BCF111-DAAB-04DE-661B-6AB8D101C71F}"/>
              </a:ext>
            </a:extLst>
          </p:cNvPr>
          <p:cNvPicPr>
            <a:picLocks noChangeAspect="1"/>
          </p:cNvPicPr>
          <p:nvPr/>
        </p:nvPicPr>
        <p:blipFill>
          <a:blip r:embed="rId4"/>
          <a:stretch>
            <a:fillRect/>
          </a:stretch>
        </p:blipFill>
        <p:spPr>
          <a:xfrm>
            <a:off x="3937593" y="2402662"/>
            <a:ext cx="2456901" cy="4346825"/>
          </a:xfrm>
          <a:prstGeom prst="rect">
            <a:avLst/>
          </a:prstGeom>
        </p:spPr>
      </p:pic>
      <p:pic>
        <p:nvPicPr>
          <p:cNvPr id="4" name="図 3">
            <a:extLst>
              <a:ext uri="{FF2B5EF4-FFF2-40B4-BE49-F238E27FC236}">
                <a16:creationId xmlns:a16="http://schemas.microsoft.com/office/drawing/2014/main" id="{F5AFF2A0-5C55-E74F-E8D7-7ADA80EDAB76}"/>
              </a:ext>
            </a:extLst>
          </p:cNvPr>
          <p:cNvPicPr>
            <a:picLocks noChangeAspect="1"/>
          </p:cNvPicPr>
          <p:nvPr/>
        </p:nvPicPr>
        <p:blipFill>
          <a:blip r:embed="rId5"/>
          <a:stretch>
            <a:fillRect/>
          </a:stretch>
        </p:blipFill>
        <p:spPr>
          <a:xfrm>
            <a:off x="633724" y="2402662"/>
            <a:ext cx="2450804" cy="4346825"/>
          </a:xfrm>
          <a:prstGeom prst="rect">
            <a:avLst/>
          </a:prstGeom>
        </p:spPr>
      </p:pic>
      <p:pic>
        <p:nvPicPr>
          <p:cNvPr id="30" name="Picture 2">
            <a:extLst>
              <a:ext uri="{FF2B5EF4-FFF2-40B4-BE49-F238E27FC236}">
                <a16:creationId xmlns:a16="http://schemas.microsoft.com/office/drawing/2014/main" id="{E2D67601-19D0-41DD-E66C-901B31746B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3134" y="2402662"/>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3350460"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33045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853405" y="1512998"/>
            <a:ext cx="237397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3702879"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196610" y="1512998"/>
            <a:ext cx="47332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撮影するか端末内に既に保険証画像がある場合は選択してアップロード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3" name="テキスト ボックス 22">
            <a:extLst>
              <a:ext uri="{FF2B5EF4-FFF2-40B4-BE49-F238E27FC236}">
                <a16:creationId xmlns:a16="http://schemas.microsoft.com/office/drawing/2014/main" id="{A071F382-1AE4-7514-4050-50D6E1625319}"/>
              </a:ext>
            </a:extLst>
          </p:cNvPr>
          <p:cNvSpPr txBox="1"/>
          <p:nvPr/>
        </p:nvSpPr>
        <p:spPr>
          <a:xfrm>
            <a:off x="6624698" y="4028444"/>
            <a:ext cx="1914179"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268EDD72-65CF-6EE8-BE37-2071B39B1F03}"/>
              </a:ext>
            </a:extLst>
          </p:cNvPr>
          <p:cNvSpPr txBox="1"/>
          <p:nvPr/>
        </p:nvSpPr>
        <p:spPr>
          <a:xfrm>
            <a:off x="4042918" y="4003588"/>
            <a:ext cx="2233077"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9" name="四角形: 角を丸くする 28">
            <a:extLst>
              <a:ext uri="{FF2B5EF4-FFF2-40B4-BE49-F238E27FC236}">
                <a16:creationId xmlns:a16="http://schemas.microsoft.com/office/drawing/2014/main" id="{0F9489D5-92C5-CB8A-E214-1D19D4E61D5D}"/>
              </a:ext>
            </a:extLst>
          </p:cNvPr>
          <p:cNvSpPr/>
          <p:nvPr/>
        </p:nvSpPr>
        <p:spPr>
          <a:xfrm>
            <a:off x="692692" y="313111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6C07DC-C004-1F15-804C-24E28148EB2D}"/>
              </a:ext>
            </a:extLst>
          </p:cNvPr>
          <p:cNvSpPr/>
          <p:nvPr/>
        </p:nvSpPr>
        <p:spPr>
          <a:xfrm>
            <a:off x="4020474" y="5520835"/>
            <a:ext cx="2291137" cy="766966"/>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622C3E0D-AF69-247E-14B0-AB85BD0B17BE}"/>
              </a:ext>
            </a:extLst>
          </p:cNvPr>
          <p:cNvSpPr/>
          <p:nvPr/>
        </p:nvSpPr>
        <p:spPr>
          <a:xfrm>
            <a:off x="6596285" y="5595256"/>
            <a:ext cx="1951953" cy="618124"/>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C44E7CC-0015-84C4-5AD9-825063CC17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3017926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073E77-F242-EC90-B971-12D313BEDCB3}"/>
              </a:ext>
            </a:extLst>
          </p:cNvPr>
          <p:cNvPicPr>
            <a:picLocks noChangeAspect="1"/>
          </p:cNvPicPr>
          <p:nvPr/>
        </p:nvPicPr>
        <p:blipFill>
          <a:blip r:embed="rId4"/>
          <a:stretch>
            <a:fillRect/>
          </a:stretch>
        </p:blipFill>
        <p:spPr>
          <a:xfrm>
            <a:off x="1223626" y="2395348"/>
            <a:ext cx="2450804" cy="4340728"/>
          </a:xfrm>
          <a:prstGeom prst="rect">
            <a:avLst/>
          </a:prstGeom>
        </p:spPr>
      </p:pic>
      <p:pic>
        <p:nvPicPr>
          <p:cNvPr id="17" name="図 16">
            <a:extLst>
              <a:ext uri="{FF2B5EF4-FFF2-40B4-BE49-F238E27FC236}">
                <a16:creationId xmlns:a16="http://schemas.microsoft.com/office/drawing/2014/main" id="{5E3AD134-CF74-D165-039F-BBA41425D482}"/>
              </a:ext>
            </a:extLst>
          </p:cNvPr>
          <p:cNvPicPr>
            <a:picLocks noChangeAspect="1"/>
          </p:cNvPicPr>
          <p:nvPr/>
        </p:nvPicPr>
        <p:blipFill>
          <a:blip r:embed="rId5"/>
          <a:stretch>
            <a:fillRect/>
          </a:stretch>
        </p:blipFill>
        <p:spPr>
          <a:xfrm>
            <a:off x="5405583" y="239534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画像が入っていることを確認して「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30"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情報更新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四角形: 角を丸くする 4">
            <a:extLst>
              <a:ext uri="{FF2B5EF4-FFF2-40B4-BE49-F238E27FC236}">
                <a16:creationId xmlns:a16="http://schemas.microsoft.com/office/drawing/2014/main" id="{C8194590-6D65-1822-A05E-14C0D5346A39}"/>
              </a:ext>
            </a:extLst>
          </p:cNvPr>
          <p:cNvSpPr/>
          <p:nvPr/>
        </p:nvSpPr>
        <p:spPr>
          <a:xfrm>
            <a:off x="1371909" y="3730420"/>
            <a:ext cx="2135222" cy="135543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A7DDF9D-7D6B-701E-FC97-2E0F7425825D}"/>
              </a:ext>
            </a:extLst>
          </p:cNvPr>
          <p:cNvSpPr/>
          <p:nvPr/>
        </p:nvSpPr>
        <p:spPr>
          <a:xfrm>
            <a:off x="1300840" y="63206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9DE2497-7BEF-07C5-F24B-9636D6B340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2622687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96BBBEC-AFB6-DDE8-6848-544165E5D0EE}"/>
              </a:ext>
            </a:extLst>
          </p:cNvPr>
          <p:cNvPicPr>
            <a:picLocks noChangeAspect="1"/>
          </p:cNvPicPr>
          <p:nvPr/>
        </p:nvPicPr>
        <p:blipFill>
          <a:blip r:embed="rId4"/>
          <a:stretch>
            <a:fillRect/>
          </a:stretch>
        </p:blipFill>
        <p:spPr>
          <a:xfrm>
            <a:off x="5417769" y="2396228"/>
            <a:ext cx="2450804" cy="4346825"/>
          </a:xfrm>
          <a:prstGeom prst="rect">
            <a:avLst/>
          </a:prstGeom>
        </p:spPr>
      </p:pic>
      <p:pic>
        <p:nvPicPr>
          <p:cNvPr id="2" name="図 1">
            <a:extLst>
              <a:ext uri="{FF2B5EF4-FFF2-40B4-BE49-F238E27FC236}">
                <a16:creationId xmlns:a16="http://schemas.microsoft.com/office/drawing/2014/main" id="{D2D0568D-958B-142A-EFF5-AEE00E3CA3E3}"/>
              </a:ext>
            </a:extLst>
          </p:cNvPr>
          <p:cNvPicPr>
            <a:picLocks noChangeAspect="1"/>
          </p:cNvPicPr>
          <p:nvPr/>
        </p:nvPicPr>
        <p:blipFill>
          <a:blip r:embed="rId5"/>
          <a:stretch>
            <a:fillRect/>
          </a:stretch>
        </p:blipFill>
        <p:spPr>
          <a:xfrm>
            <a:off x="1223434"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最終更新日」が更新日時になってい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7" name="四角形: 角を丸くする 6">
            <a:extLst>
              <a:ext uri="{FF2B5EF4-FFF2-40B4-BE49-F238E27FC236}">
                <a16:creationId xmlns:a16="http://schemas.microsoft.com/office/drawing/2014/main" id="{278A929A-5CCB-67AF-DE1B-51EED02B46AE}"/>
              </a:ext>
            </a:extLst>
          </p:cNvPr>
          <p:cNvSpPr/>
          <p:nvPr/>
        </p:nvSpPr>
        <p:spPr>
          <a:xfrm>
            <a:off x="5486592" y="344382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F75A2AA-4272-FCA7-60ED-8D839BF5A289}"/>
              </a:ext>
            </a:extLst>
          </p:cNvPr>
          <p:cNvSpPr/>
          <p:nvPr/>
        </p:nvSpPr>
        <p:spPr>
          <a:xfrm>
            <a:off x="1304994" y="3192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43D5C1D2-9B0B-11D3-AED5-D2CF683A8C6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358746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496800A-CE6F-548D-FAC4-5D555727D8FF}"/>
              </a:ext>
            </a:extLst>
          </p:cNvPr>
          <p:cNvPicPr>
            <a:picLocks noChangeAspect="1"/>
          </p:cNvPicPr>
          <p:nvPr/>
        </p:nvPicPr>
        <p:blipFill>
          <a:blip r:embed="rId4"/>
          <a:stretch>
            <a:fillRect/>
          </a:stretch>
        </p:blipFill>
        <p:spPr>
          <a:xfrm>
            <a:off x="5417769" y="2406992"/>
            <a:ext cx="2450804" cy="4346825"/>
          </a:xfrm>
          <a:prstGeom prst="rect">
            <a:avLst/>
          </a:prstGeom>
        </p:spPr>
      </p:pic>
      <p:pic>
        <p:nvPicPr>
          <p:cNvPr id="22" name="Picture 3">
            <a:extLst>
              <a:ext uri="{FF2B5EF4-FFF2-40B4-BE49-F238E27FC236}">
                <a16:creationId xmlns:a16="http://schemas.microsoft.com/office/drawing/2014/main" id="{7288596C-8F5E-EBBA-8A98-40FF093F4D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4432" y="2406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基本情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4" name="四角形: 角を丸くする 3">
            <a:extLst>
              <a:ext uri="{FF2B5EF4-FFF2-40B4-BE49-F238E27FC236}">
                <a16:creationId xmlns:a16="http://schemas.microsoft.com/office/drawing/2014/main" id="{E2FFFC51-C90E-BBB3-1467-41256D0D70E0}"/>
              </a:ext>
            </a:extLst>
          </p:cNvPr>
          <p:cNvSpPr/>
          <p:nvPr/>
        </p:nvSpPr>
        <p:spPr>
          <a:xfrm>
            <a:off x="3250477" y="2516783"/>
            <a:ext cx="4127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C354EA2-704A-4B1B-C105-5B445CB45EDA}"/>
              </a:ext>
            </a:extLst>
          </p:cNvPr>
          <p:cNvSpPr/>
          <p:nvPr/>
        </p:nvSpPr>
        <p:spPr>
          <a:xfrm>
            <a:off x="5433061" y="4152275"/>
            <a:ext cx="2398202" cy="3297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207660D-EC86-EFE6-41DD-CAB023AABC99}"/>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437171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3E17A64E-62B0-649E-B3D4-2F81CCCB0DC0}"/>
              </a:ext>
            </a:extLst>
          </p:cNvPr>
          <p:cNvSpPr/>
          <p:nvPr/>
        </p:nvSpPr>
        <p:spPr>
          <a:xfrm>
            <a:off x="5428128" y="2117943"/>
            <a:ext cx="3606069" cy="4678204"/>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会計</a:t>
            </a:r>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で簡単決済</a:t>
            </a:r>
          </a:p>
          <a:p>
            <a:r>
              <a:rPr lang="ja-JP" altLang="en-US" sz="1400" dirty="0">
                <a:latin typeface="BIZ UDPゴシック" panose="020B0400000000000000" pitchFamily="50" charset="-128"/>
                <a:ea typeface="BIZ UDPゴシック" panose="020B0400000000000000" pitchFamily="50" charset="-128"/>
                <a:cs typeface="Meiryo" charset="-128"/>
              </a:rPr>
              <a:t>登録したクレジットカードから自動で決済</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面倒な振込や支払いの手続きはありません</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会計で待つ必要もありません</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❺処方</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アップロード</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病院・診療所から処方箋データをアップロードしてもらい、調剤薬局へオンライン服薬指導を申し込む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院内処方の場合は登録住所に直接薬が郵送され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❻服薬指導</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調剤薬局がオンライン服薬指導</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元に調剤薬局が薬を用意し、服薬指導もオンラインで完結</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決済ができ、薬も登録住所に直接郵送されます</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服薬指導アプリ</a:t>
            </a:r>
            <a:r>
              <a:rPr lang="en-US" altLang="ja-JP" sz="2799" dirty="0">
                <a:solidFill>
                  <a:srgbClr val="4472C4"/>
                </a:solidFill>
              </a:rPr>
              <a:t>CLINICS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5255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オンライン診療・服薬指導アプリ「</a:t>
            </a:r>
            <a:r>
              <a:rPr lang="en-US" altLang="ja-JP" sz="2000" b="0" dirty="0">
                <a:latin typeface="BIZ UDPゴシック" panose="020B0400000000000000" pitchFamily="50" charset="-128"/>
                <a:ea typeface="BIZ UDPゴシック" panose="020B0400000000000000" pitchFamily="50" charset="-128"/>
              </a:rPr>
              <a:t>CLINICS</a:t>
            </a:r>
            <a:r>
              <a:rPr lang="ja-JP" altLang="en-US" sz="2000" b="0" dirty="0">
                <a:latin typeface="BIZ UDPゴシック" panose="020B0400000000000000" pitchFamily="50" charset="-128"/>
                <a:ea typeface="BIZ UDPゴシック" panose="020B0400000000000000" pitchFamily="50" charset="-128"/>
              </a:rPr>
              <a:t>」を利用することで、インターネット上で予約</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診療</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会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服薬指導までを一貫して行う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スマートフォンに表示されている「CLINICS 」アプリの画面の画像">
            <a:extLst>
              <a:ext uri="{FF2B5EF4-FFF2-40B4-BE49-F238E27FC236}">
                <a16:creationId xmlns:a16="http://schemas.microsoft.com/office/drawing/2014/main" id="{A90055E7-B036-8B75-EC60-39F8BDFC6B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802" y="2405220"/>
            <a:ext cx="1950181" cy="3736477"/>
          </a:xfrm>
          <a:prstGeom prst="rect">
            <a:avLst/>
          </a:prstGeom>
        </p:spPr>
      </p:pic>
      <p:sp>
        <p:nvSpPr>
          <p:cNvPr id="11" name="正方形/長方形 10">
            <a:extLst>
              <a:ext uri="{FF2B5EF4-FFF2-40B4-BE49-F238E27FC236}">
                <a16:creationId xmlns:a16="http://schemas.microsoft.com/office/drawing/2014/main" id="{CB4C751B-00E3-1D36-63BC-305B7E053EBE}"/>
              </a:ext>
            </a:extLst>
          </p:cNvPr>
          <p:cNvSpPr/>
          <p:nvPr/>
        </p:nvSpPr>
        <p:spPr>
          <a:xfrm>
            <a:off x="2064413" y="2117943"/>
            <a:ext cx="3463898" cy="4462760"/>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❶予約</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24</a:t>
            </a: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時間いつでも可能</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から都合に合わせて予約を</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取る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所在地から近くのオンライン診察に対応</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した病院・診療所を探すことも可能で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❷問診</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で回答</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事前にアプリで回答</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保険証や医師に見せたい資料もアプリから提出でき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❸診察</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latin typeface="BIZ UDPゴシック" panose="020B0400000000000000" pitchFamily="50" charset="-128"/>
                <a:ea typeface="BIZ UDPゴシック" panose="020B0400000000000000" pitchFamily="50" charset="-128"/>
                <a:cs typeface="Meiryo" charset="-128"/>
              </a:rPr>
              <a:t>通院時間削減</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予約時間内に医師からアプリ上で呼び</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出され、ビデオチャットで医師の診察</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が始まります</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通院時間を削減することができます</a:t>
            </a:r>
            <a:endParaRPr lang="ja-JP" altLang="en-US" sz="1400" dirty="0">
              <a:effectLst/>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7681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60427183-30BE-CC50-2C6E-098FE4FC2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117" y="240568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3C1F1B8-31F1-3DB6-45C8-DFF8DE5D73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払方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5230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7" name="四角形: 角を丸くする 6">
            <a:extLst>
              <a:ext uri="{FF2B5EF4-FFF2-40B4-BE49-F238E27FC236}">
                <a16:creationId xmlns:a16="http://schemas.microsoft.com/office/drawing/2014/main" id="{146CE02F-BE7F-F45E-5D90-73310C8F0D28}"/>
              </a:ext>
            </a:extLst>
          </p:cNvPr>
          <p:cNvSpPr/>
          <p:nvPr/>
        </p:nvSpPr>
        <p:spPr>
          <a:xfrm>
            <a:off x="5479979" y="291138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D404DDDA-AA55-D731-F98C-25A560CE72F2}"/>
              </a:ext>
            </a:extLst>
          </p:cNvPr>
          <p:cNvSpPr/>
          <p:nvPr/>
        </p:nvSpPr>
        <p:spPr>
          <a:xfrm>
            <a:off x="1311770" y="37958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6755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 メール&#10;&#10;自動的に生成された説明">
            <a:extLst>
              <a:ext uri="{FF2B5EF4-FFF2-40B4-BE49-F238E27FC236}">
                <a16:creationId xmlns:a16="http://schemas.microsoft.com/office/drawing/2014/main" id="{C49CF346-D5B7-A1D0-4130-B2BE23ADF4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0931" y="2415407"/>
            <a:ext cx="2452278" cy="4342057"/>
          </a:xfrm>
          <a:prstGeom prst="rect">
            <a:avLst/>
          </a:prstGeom>
        </p:spPr>
      </p:pic>
      <p:pic>
        <p:nvPicPr>
          <p:cNvPr id="22" name="Picture 2">
            <a:extLst>
              <a:ext uri="{FF2B5EF4-FFF2-40B4-BE49-F238E27FC236}">
                <a16:creationId xmlns:a16="http://schemas.microsoft.com/office/drawing/2014/main" id="{69452C4F-C7F4-A9BA-9BF8-4DE8BD2139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477" y="2403431"/>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情報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完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5" name="四角形: 角を丸くする 4">
            <a:extLst>
              <a:ext uri="{FF2B5EF4-FFF2-40B4-BE49-F238E27FC236}">
                <a16:creationId xmlns:a16="http://schemas.microsoft.com/office/drawing/2014/main" id="{1F8ADFD1-C66D-4C13-84E1-DA80504C622A}"/>
              </a:ext>
            </a:extLst>
          </p:cNvPr>
          <p:cNvSpPr/>
          <p:nvPr/>
        </p:nvSpPr>
        <p:spPr>
          <a:xfrm>
            <a:off x="1323251" y="3439391"/>
            <a:ext cx="2251221" cy="1199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13C48C0-CAA3-4738-87B8-24CC430FA818}"/>
              </a:ext>
            </a:extLst>
          </p:cNvPr>
          <p:cNvSpPr/>
          <p:nvPr/>
        </p:nvSpPr>
        <p:spPr>
          <a:xfrm>
            <a:off x="5471501" y="634203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6837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F0D9934-F8F3-7F49-50AA-567FF7C9B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36825" y="24119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89423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番号と有効期限が合っているか確認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8" name="四角形: 角を丸くする 7">
            <a:extLst>
              <a:ext uri="{FF2B5EF4-FFF2-40B4-BE49-F238E27FC236}">
                <a16:creationId xmlns:a16="http://schemas.microsoft.com/office/drawing/2014/main" id="{D8CE3D69-B334-FE8B-BFB1-055F7CEF1076}"/>
              </a:ext>
            </a:extLst>
          </p:cNvPr>
          <p:cNvSpPr/>
          <p:nvPr/>
        </p:nvSpPr>
        <p:spPr>
          <a:xfrm>
            <a:off x="3416009" y="2908672"/>
            <a:ext cx="2291137" cy="717755"/>
          </a:xfrm>
          <a:prstGeom prst="roundRect">
            <a:avLst>
              <a:gd name="adj" fmla="val 1109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11853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F909460-135B-B7DE-4C1F-EB4909858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48CD6771-44B5-2F0B-89C9-6E6139A3B2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8054"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病院・診療所」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現在地か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4" name="四角形: 角を丸くする 3">
            <a:extLst>
              <a:ext uri="{FF2B5EF4-FFF2-40B4-BE49-F238E27FC236}">
                <a16:creationId xmlns:a16="http://schemas.microsoft.com/office/drawing/2014/main" id="{4663AADF-3ACA-530A-90C9-720406AABA1C}"/>
              </a:ext>
            </a:extLst>
          </p:cNvPr>
          <p:cNvSpPr/>
          <p:nvPr/>
        </p:nvSpPr>
        <p:spPr>
          <a:xfrm>
            <a:off x="2235007" y="639971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2700958F-1C3A-262B-8F1E-FF7051322F53}"/>
              </a:ext>
            </a:extLst>
          </p:cNvPr>
          <p:cNvSpPr/>
          <p:nvPr/>
        </p:nvSpPr>
        <p:spPr>
          <a:xfrm>
            <a:off x="5436325" y="4959888"/>
            <a:ext cx="839783" cy="798532"/>
          </a:xfrm>
          <a:prstGeom prst="roundRect">
            <a:avLst>
              <a:gd name="adj" fmla="val 174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DFD7B6-E54A-B109-A2EC-94E79F256A2F}"/>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064710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2CD9DBB-08E4-19AC-9CAE-796E7BF05BCD}"/>
              </a:ext>
            </a:extLst>
          </p:cNvPr>
          <p:cNvPicPr>
            <a:picLocks noChangeAspect="1"/>
          </p:cNvPicPr>
          <p:nvPr/>
        </p:nvPicPr>
        <p:blipFill>
          <a:blip r:embed="rId4"/>
          <a:stretch>
            <a:fillRect/>
          </a:stretch>
        </p:blipFill>
        <p:spPr>
          <a:xfrm>
            <a:off x="5407579" y="2395321"/>
            <a:ext cx="2450804" cy="4340728"/>
          </a:xfrm>
          <a:prstGeom prst="rect">
            <a:avLst/>
          </a:prstGeom>
        </p:spPr>
      </p:pic>
      <p:pic>
        <p:nvPicPr>
          <p:cNvPr id="23" name="Picture 3">
            <a:extLst>
              <a:ext uri="{FF2B5EF4-FFF2-40B4-BE49-F238E27FC236}">
                <a16:creationId xmlns:a16="http://schemas.microsoft.com/office/drawing/2014/main" id="{FB4E9FA9-43EB-4B06-DCF7-2F435CD3C5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70" y="239532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度だけ許可」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が表示</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7" name="四角形: 角を丸くする 6">
            <a:extLst>
              <a:ext uri="{FF2B5EF4-FFF2-40B4-BE49-F238E27FC236}">
                <a16:creationId xmlns:a16="http://schemas.microsoft.com/office/drawing/2014/main" id="{29BAC358-9A20-2F55-A965-A20F8E6484DA}"/>
              </a:ext>
            </a:extLst>
          </p:cNvPr>
          <p:cNvSpPr/>
          <p:nvPr/>
        </p:nvSpPr>
        <p:spPr>
          <a:xfrm>
            <a:off x="1685109" y="4533041"/>
            <a:ext cx="1541417" cy="2705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A1350BA-66C3-8E73-D129-7092BCBA288A}"/>
              </a:ext>
            </a:extLst>
          </p:cNvPr>
          <p:cNvSpPr/>
          <p:nvPr/>
        </p:nvSpPr>
        <p:spPr>
          <a:xfrm>
            <a:off x="1685109" y="4840954"/>
            <a:ext cx="1541417" cy="27056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2526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A0A5931-3AC4-04B8-BA81-4C7A0F36478E}"/>
              </a:ext>
            </a:extLst>
          </p:cNvPr>
          <p:cNvPicPr>
            <a:picLocks noChangeAspect="1"/>
          </p:cNvPicPr>
          <p:nvPr/>
        </p:nvPicPr>
        <p:blipFill>
          <a:blip r:embed="rId4"/>
          <a:stretch>
            <a:fillRect/>
          </a:stretch>
        </p:blipFill>
        <p:spPr>
          <a:xfrm>
            <a:off x="5406760" y="2375146"/>
            <a:ext cx="2450804" cy="4346825"/>
          </a:xfrm>
          <a:prstGeom prst="rect">
            <a:avLst/>
          </a:prstGeom>
        </p:spPr>
      </p:pic>
      <p:pic>
        <p:nvPicPr>
          <p:cNvPr id="11" name="図 10">
            <a:extLst>
              <a:ext uri="{FF2B5EF4-FFF2-40B4-BE49-F238E27FC236}">
                <a16:creationId xmlns:a16="http://schemas.microsoft.com/office/drawing/2014/main" id="{2A2F2649-3851-7C5B-1801-B29091E1735A}"/>
              </a:ext>
            </a:extLst>
          </p:cNvPr>
          <p:cNvPicPr>
            <a:picLocks noChangeAspect="1"/>
          </p:cNvPicPr>
          <p:nvPr/>
        </p:nvPicPr>
        <p:blipFill>
          <a:blip r:embed="rId5"/>
          <a:stretch>
            <a:fillRect/>
          </a:stretch>
        </p:blipFill>
        <p:spPr>
          <a:xfrm>
            <a:off x="1220901" y="237819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9001" y="3221677"/>
            <a:ext cx="2398634" cy="34765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4214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42149"/>
            <a:ext cx="34323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画面で予約したい診療メニュー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53251" y="2771965"/>
            <a:ext cx="993658" cy="40437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A25A592B-0289-45F2-045C-2D60CB20666B}"/>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4235084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2760482-0FEE-706A-668C-C094E73124C3}"/>
              </a:ext>
            </a:extLst>
          </p:cNvPr>
          <p:cNvPicPr>
            <a:picLocks noChangeAspect="1"/>
          </p:cNvPicPr>
          <p:nvPr/>
        </p:nvPicPr>
        <p:blipFill>
          <a:blip r:embed="rId4"/>
          <a:stretch>
            <a:fillRect/>
          </a:stretch>
        </p:blipFill>
        <p:spPr>
          <a:xfrm>
            <a:off x="5421836" y="2378195"/>
            <a:ext cx="2450804" cy="4346825"/>
          </a:xfrm>
          <a:prstGeom prst="rect">
            <a:avLst/>
          </a:prstGeom>
        </p:spPr>
      </p:pic>
      <p:pic>
        <p:nvPicPr>
          <p:cNvPr id="11" name="図 10">
            <a:extLst>
              <a:ext uri="{FF2B5EF4-FFF2-40B4-BE49-F238E27FC236}">
                <a16:creationId xmlns:a16="http://schemas.microsoft.com/office/drawing/2014/main" id="{C6C0267A-CC2D-75AB-53B0-98D7F8777E7A}"/>
              </a:ext>
            </a:extLst>
          </p:cNvPr>
          <p:cNvPicPr>
            <a:picLocks noChangeAspect="1"/>
          </p:cNvPicPr>
          <p:nvPr/>
        </p:nvPicPr>
        <p:blipFill>
          <a:blip r:embed="rId5"/>
          <a:stretch>
            <a:fillRect/>
          </a:stretch>
        </p:blipFill>
        <p:spPr>
          <a:xfrm>
            <a:off x="1232010" y="2378195"/>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47921" y="4398745"/>
            <a:ext cx="2398634" cy="464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094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の詳細を確認し「こ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予約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診者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97444" y="6307667"/>
            <a:ext cx="2295419" cy="3905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509F67DE-3370-31A3-9C3A-1CF7599678A2}"/>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123681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D3322E0B-AF4C-8D7A-4738-EA9291CA91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7179" y="4346937"/>
            <a:ext cx="217724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6" name="タイトル 1">
            <a:extLst>
              <a:ext uri="{FF2B5EF4-FFF2-40B4-BE49-F238E27FC236}">
                <a16:creationId xmlns:a16="http://schemas.microsoft.com/office/drawing/2014/main" id="{BF05EA61-E360-70B7-DF3E-7DE44701FD34}"/>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316339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1B9E80-06B5-E817-652B-7530C8FF27DD}"/>
              </a:ext>
            </a:extLst>
          </p:cNvPr>
          <p:cNvPicPr>
            <a:picLocks noChangeAspect="1"/>
          </p:cNvPicPr>
          <p:nvPr/>
        </p:nvPicPr>
        <p:blipFill>
          <a:blip r:embed="rId4"/>
          <a:stretch>
            <a:fillRect/>
          </a:stretch>
        </p:blipFill>
        <p:spPr>
          <a:xfrm>
            <a:off x="3343549" y="239857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092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から希望の日時・時間帯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0"/>
            <a:ext cx="2428786" cy="24722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日の予約をしましょう</a:t>
            </a:r>
          </a:p>
        </p:txBody>
      </p:sp>
      <p:sp>
        <p:nvSpPr>
          <p:cNvPr id="6" name="タイトル 5">
            <a:extLst>
              <a:ext uri="{FF2B5EF4-FFF2-40B4-BE49-F238E27FC236}">
                <a16:creationId xmlns:a16="http://schemas.microsoft.com/office/drawing/2014/main" id="{9D504FA3-8CF6-0815-D24E-E74B5121095D}"/>
              </a:ext>
            </a:extLst>
          </p:cNvPr>
          <p:cNvSpPr>
            <a:spLocks noGrp="1"/>
          </p:cNvSpPr>
          <p:nvPr>
            <p:ph type="ctrTitle"/>
          </p:nvPr>
        </p:nvSpPr>
        <p:spPr/>
        <p:txBody>
          <a:bodyPr/>
          <a:lstStyle/>
          <a:p>
            <a:r>
              <a:rPr lang="en-US" altLang="ja-JP" dirty="0"/>
              <a:t>【8】</a:t>
            </a:r>
            <a:r>
              <a:rPr lang="ja-JP" altLang="en-US" dirty="0"/>
              <a:t>診療日の予約</a:t>
            </a:r>
          </a:p>
        </p:txBody>
      </p:sp>
    </p:spTree>
    <p:extLst>
      <p:ext uri="{BB962C8B-B14F-4D97-AF65-F5344CB8AC3E}">
        <p14:creationId xmlns:p14="http://schemas.microsoft.com/office/powerpoint/2010/main" val="2257507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6B34842-3716-2A28-1491-677E2BF15F7E}"/>
              </a:ext>
            </a:extLst>
          </p:cNvPr>
          <p:cNvPicPr>
            <a:picLocks noChangeAspect="1"/>
          </p:cNvPicPr>
          <p:nvPr/>
        </p:nvPicPr>
        <p:blipFill rotWithShape="1">
          <a:blip r:embed="rId4"/>
          <a:srcRect t="594" r="62748"/>
          <a:stretch/>
        </p:blipFill>
        <p:spPr>
          <a:xfrm>
            <a:off x="5381777" y="2364355"/>
            <a:ext cx="2468669" cy="43513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25558"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977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書が表示された場合、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693047"/>
            <a:ext cx="2899635"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服薬指導方法・同意書の確認をしましょう</a:t>
            </a:r>
          </a:p>
        </p:txBody>
      </p:sp>
      <p:sp>
        <p:nvSpPr>
          <p:cNvPr id="11" name="タイトル 10">
            <a:extLst>
              <a:ext uri="{FF2B5EF4-FFF2-40B4-BE49-F238E27FC236}">
                <a16:creationId xmlns:a16="http://schemas.microsoft.com/office/drawing/2014/main" id="{9BEA0F33-2781-79B0-25ED-406FD16C3D7B}"/>
              </a:ext>
            </a:extLst>
          </p:cNvPr>
          <p:cNvSpPr>
            <a:spLocks noGrp="1"/>
          </p:cNvSpPr>
          <p:nvPr>
            <p:ph type="ctrTitle"/>
          </p:nvPr>
        </p:nvSpPr>
        <p:spPr/>
        <p:txBody>
          <a:bodyPr/>
          <a:lstStyle/>
          <a:p>
            <a:r>
              <a:rPr lang="en-US" altLang="ja-JP" dirty="0"/>
              <a:t>【9】</a:t>
            </a:r>
            <a:r>
              <a:rPr lang="ja-JP" altLang="en-US" dirty="0"/>
              <a:t>服薬指導方法・同意書の確認</a:t>
            </a:r>
          </a:p>
        </p:txBody>
      </p:sp>
      <p:pic>
        <p:nvPicPr>
          <p:cNvPr id="17" name="図 16">
            <a:extLst>
              <a:ext uri="{FF2B5EF4-FFF2-40B4-BE49-F238E27FC236}">
                <a16:creationId xmlns:a16="http://schemas.microsoft.com/office/drawing/2014/main" id="{6C715E42-37D2-814F-B817-4337F3004B0F}"/>
              </a:ext>
            </a:extLst>
          </p:cNvPr>
          <p:cNvPicPr>
            <a:picLocks noChangeAspect="1"/>
          </p:cNvPicPr>
          <p:nvPr/>
        </p:nvPicPr>
        <p:blipFill rotWithShape="1">
          <a:blip r:embed="rId4"/>
          <a:srcRect t="594" r="62748"/>
          <a:stretch/>
        </p:blipFill>
        <p:spPr>
          <a:xfrm>
            <a:off x="1223520" y="2364355"/>
            <a:ext cx="2468669" cy="4351301"/>
          </a:xfrm>
          <a:prstGeom prst="rect">
            <a:avLst/>
          </a:prstGeom>
        </p:spPr>
      </p:pic>
      <p:sp>
        <p:nvSpPr>
          <p:cNvPr id="2" name="テキスト ボックス 1">
            <a:extLst>
              <a:ext uri="{FF2B5EF4-FFF2-40B4-BE49-F238E27FC236}">
                <a16:creationId xmlns:a16="http://schemas.microsoft.com/office/drawing/2014/main" id="{D8527215-8115-75F1-7F61-05782FB403BF}"/>
              </a:ext>
            </a:extLst>
          </p:cNvPr>
          <p:cNvSpPr txBox="1"/>
          <p:nvPr/>
        </p:nvSpPr>
        <p:spPr>
          <a:xfrm>
            <a:off x="5451812" y="911942"/>
            <a:ext cx="3336223" cy="755720"/>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同意書は保険適用外の費用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発生する場合のみ</a:t>
            </a:r>
          </a:p>
        </p:txBody>
      </p:sp>
      <p:sp>
        <p:nvSpPr>
          <p:cNvPr id="6" name="テキスト ボックス 5">
            <a:extLst>
              <a:ext uri="{FF2B5EF4-FFF2-40B4-BE49-F238E27FC236}">
                <a16:creationId xmlns:a16="http://schemas.microsoft.com/office/drawing/2014/main" id="{71C25105-1916-C8E9-AF95-2EDA7668A613}"/>
              </a:ext>
            </a:extLst>
          </p:cNvPr>
          <p:cNvSpPr txBox="1"/>
          <p:nvPr/>
        </p:nvSpPr>
        <p:spPr>
          <a:xfrm>
            <a:off x="3783461" y="4426994"/>
            <a:ext cx="1577077" cy="1836015"/>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当該費用の発生がな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医療機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同意書が表示されません</a:t>
            </a:r>
          </a:p>
        </p:txBody>
      </p:sp>
    </p:spTree>
    <p:extLst>
      <p:ext uri="{BB962C8B-B14F-4D97-AF65-F5344CB8AC3E}">
        <p14:creationId xmlns:p14="http://schemas.microsoft.com/office/powerpoint/2010/main" val="2055036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8690"/>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13009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A8582965-5097-8E34-A8E0-8E47E57234EB}"/>
              </a:ext>
            </a:extLst>
          </p:cNvPr>
          <p:cNvPicPr>
            <a:picLocks noChangeAspect="1"/>
          </p:cNvPicPr>
          <p:nvPr/>
        </p:nvPicPr>
        <p:blipFill>
          <a:blip r:embed="rId4"/>
          <a:stretch>
            <a:fillRect/>
          </a:stretch>
        </p:blipFill>
        <p:spPr>
          <a:xfrm>
            <a:off x="5407495" y="2401706"/>
            <a:ext cx="2456901" cy="4340728"/>
          </a:xfrm>
          <a:prstGeom prst="rect">
            <a:avLst/>
          </a:prstGeom>
        </p:spPr>
      </p:pic>
      <p:pic>
        <p:nvPicPr>
          <p:cNvPr id="18" name="図 17">
            <a:extLst>
              <a:ext uri="{FF2B5EF4-FFF2-40B4-BE49-F238E27FC236}">
                <a16:creationId xmlns:a16="http://schemas.microsoft.com/office/drawing/2014/main" id="{F01331F0-A804-4A4B-EEA3-2EE245C9B031}"/>
              </a:ext>
            </a:extLst>
          </p:cNvPr>
          <p:cNvPicPr>
            <a:picLocks noChangeAspect="1"/>
          </p:cNvPicPr>
          <p:nvPr/>
        </p:nvPicPr>
        <p:blipFill>
          <a:blip r:embed="rId5"/>
          <a:stretch>
            <a:fillRect/>
          </a:stretch>
        </p:blipFill>
        <p:spPr>
          <a:xfrm>
            <a:off x="1233224" y="240170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59089"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332949"/>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問診票を回答し、「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7" name="テキスト ボックス 6">
            <a:extLst>
              <a:ext uri="{FF2B5EF4-FFF2-40B4-BE49-F238E27FC236}">
                <a16:creationId xmlns:a16="http://schemas.microsoft.com/office/drawing/2014/main" id="{2B0A359B-162A-7634-6148-B8774AEE1D51}"/>
              </a:ext>
            </a:extLst>
          </p:cNvPr>
          <p:cNvSpPr txBox="1"/>
          <p:nvPr/>
        </p:nvSpPr>
        <p:spPr>
          <a:xfrm>
            <a:off x="-25633" y="3697586"/>
            <a:ext cx="1418324" cy="1836015"/>
          </a:xfrm>
          <a:prstGeom prst="rect">
            <a:avLst/>
          </a:prstGeom>
          <a:noFill/>
        </p:spPr>
        <p:txBody>
          <a:bodyPr wrap="square" rtlCol="0" anchor="ctr">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更新する場合のみ「更新する」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EC59A6BE-C660-E639-12CC-245A6532A206}"/>
              </a:ext>
            </a:extLst>
          </p:cNvPr>
          <p:cNvSpPr/>
          <p:nvPr/>
        </p:nvSpPr>
        <p:spPr>
          <a:xfrm>
            <a:off x="1261251" y="6360041"/>
            <a:ext cx="2398634" cy="338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8">
            <a:extLst>
              <a:ext uri="{FF2B5EF4-FFF2-40B4-BE49-F238E27FC236}">
                <a16:creationId xmlns:a16="http://schemas.microsoft.com/office/drawing/2014/main" id="{D7BC6845-2F99-24FB-DD19-E2B6E5E70B71}"/>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1462677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A51FE72-C2DF-DDEA-6ABB-B2AE6ADCA964}"/>
              </a:ext>
            </a:extLst>
          </p:cNvPr>
          <p:cNvPicPr>
            <a:picLocks noChangeAspect="1"/>
          </p:cNvPicPr>
          <p:nvPr/>
        </p:nvPicPr>
        <p:blipFill>
          <a:blip r:embed="rId4"/>
          <a:stretch>
            <a:fillRect/>
          </a:stretch>
        </p:blipFill>
        <p:spPr>
          <a:xfrm>
            <a:off x="3346598" y="238968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620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薬の受け取り方法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1"/>
            <a:ext cx="2428786" cy="1837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9" name="タイトル 8">
            <a:extLst>
              <a:ext uri="{FF2B5EF4-FFF2-40B4-BE49-F238E27FC236}">
                <a16:creationId xmlns:a16="http://schemas.microsoft.com/office/drawing/2014/main" id="{B1476701-BF2C-464D-2E83-0F4E96862DCB}"/>
              </a:ext>
            </a:extLst>
          </p:cNvPr>
          <p:cNvSpPr>
            <a:spLocks noGrp="1"/>
          </p:cNvSpPr>
          <p:nvPr>
            <p:ph type="ctrTitle"/>
          </p:nvPr>
        </p:nvSpPr>
        <p:spPr/>
        <p:txBody>
          <a:bodyPr/>
          <a:lstStyle/>
          <a:p>
            <a:r>
              <a:rPr lang="en-US" altLang="ja-JP" dirty="0"/>
              <a:t>【10】</a:t>
            </a:r>
            <a:r>
              <a:rPr lang="ja-JP" altLang="en-US" dirty="0"/>
              <a:t>問診票等の入力</a:t>
            </a:r>
          </a:p>
        </p:txBody>
      </p:sp>
      <p:sp>
        <p:nvSpPr>
          <p:cNvPr id="4" name="テキスト ボックス 3">
            <a:extLst>
              <a:ext uri="{FF2B5EF4-FFF2-40B4-BE49-F238E27FC236}">
                <a16:creationId xmlns:a16="http://schemas.microsoft.com/office/drawing/2014/main" id="{474675BA-E6C5-3D44-3BD2-F6141EDDDDE6}"/>
              </a:ext>
            </a:extLst>
          </p:cNvPr>
          <p:cNvSpPr txBox="1"/>
          <p:nvPr/>
        </p:nvSpPr>
        <p:spPr>
          <a:xfrm>
            <a:off x="5912457" y="4193748"/>
            <a:ext cx="2620356" cy="1475917"/>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から分岐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58</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常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1</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薬局で受け取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89893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D4DDF94-BD4B-F0C5-7FF5-DDA381484888}"/>
              </a:ext>
            </a:extLst>
          </p:cNvPr>
          <p:cNvPicPr>
            <a:picLocks noChangeAspect="1"/>
          </p:cNvPicPr>
          <p:nvPr/>
        </p:nvPicPr>
        <p:blipFill>
          <a:blip r:embed="rId4"/>
          <a:stretch>
            <a:fillRect/>
          </a:stretch>
        </p:blipFill>
        <p:spPr>
          <a:xfrm>
            <a:off x="5399642" y="2412069"/>
            <a:ext cx="2450804" cy="4340728"/>
          </a:xfrm>
          <a:prstGeom prst="rect">
            <a:avLst/>
          </a:prstGeom>
        </p:spPr>
      </p:pic>
      <p:pic>
        <p:nvPicPr>
          <p:cNvPr id="16" name="図 15">
            <a:extLst>
              <a:ext uri="{FF2B5EF4-FFF2-40B4-BE49-F238E27FC236}">
                <a16:creationId xmlns:a16="http://schemas.microsoft.com/office/drawing/2014/main" id="{7C871F69-AEED-0C9F-3678-0BA79D17E62F}"/>
              </a:ext>
            </a:extLst>
          </p:cNvPr>
          <p:cNvPicPr>
            <a:picLocks noChangeAspect="1"/>
          </p:cNvPicPr>
          <p:nvPr/>
        </p:nvPicPr>
        <p:blipFill>
          <a:blip r:embed="rId5"/>
          <a:stretch>
            <a:fillRect/>
          </a:stretch>
        </p:blipFill>
        <p:spPr>
          <a:xfrm>
            <a:off x="1232117" y="241206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所情報を確認し</a:t>
            </a:r>
            <a:r>
              <a:rPr lang="ja-JP" altLang="en-US" dirty="0">
                <a:solidFill>
                  <a:prstClr val="black"/>
                </a:solidFill>
                <a:latin typeface="BIZ UDPゴシック" panose="020B0400000000000000" pitchFamily="50" charset="-128"/>
                <a:ea typeface="BIZ UDPゴシック" panose="020B0400000000000000" pitchFamily="50" charset="-128"/>
              </a:rPr>
              <a:t>、</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7" name="タイトル 6">
            <a:extLst>
              <a:ext uri="{FF2B5EF4-FFF2-40B4-BE49-F238E27FC236}">
                <a16:creationId xmlns:a16="http://schemas.microsoft.com/office/drawing/2014/main" id="{8093A12A-5302-843A-9C6D-EA07D1DE2F58}"/>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0226E034-832A-3A36-CE95-52A6C735691B}"/>
              </a:ext>
            </a:extLst>
          </p:cNvPr>
          <p:cNvSpPr/>
          <p:nvPr/>
        </p:nvSpPr>
        <p:spPr>
          <a:xfrm>
            <a:off x="1293554" y="6325848"/>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6602581-479F-55AD-8079-BE60C3C218CA}"/>
              </a:ext>
            </a:extLst>
          </p:cNvPr>
          <p:cNvSpPr/>
          <p:nvPr/>
        </p:nvSpPr>
        <p:spPr>
          <a:xfrm>
            <a:off x="5473001" y="6365555"/>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3883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4B27C89-E540-F63A-73DD-86DB38941492}"/>
              </a:ext>
            </a:extLst>
          </p:cNvPr>
          <p:cNvPicPr>
            <a:picLocks noChangeAspect="1"/>
          </p:cNvPicPr>
          <p:nvPr/>
        </p:nvPicPr>
        <p:blipFill>
          <a:blip r:embed="rId4"/>
          <a:stretch>
            <a:fillRect/>
          </a:stretch>
        </p:blipFill>
        <p:spPr>
          <a:xfrm>
            <a:off x="5402967" y="2418330"/>
            <a:ext cx="2444708" cy="4346825"/>
          </a:xfrm>
          <a:prstGeom prst="rect">
            <a:avLst/>
          </a:prstGeom>
        </p:spPr>
      </p:pic>
      <p:pic>
        <p:nvPicPr>
          <p:cNvPr id="17" name="図 16">
            <a:extLst>
              <a:ext uri="{FF2B5EF4-FFF2-40B4-BE49-F238E27FC236}">
                <a16:creationId xmlns:a16="http://schemas.microsoft.com/office/drawing/2014/main" id="{FCC1C879-F7A4-FFA9-696A-06FC56390793}"/>
              </a:ext>
            </a:extLst>
          </p:cNvPr>
          <p:cNvPicPr>
            <a:picLocks noChangeAspect="1"/>
          </p:cNvPicPr>
          <p:nvPr/>
        </p:nvPicPr>
        <p:blipFill>
          <a:blip r:embed="rId5"/>
          <a:stretch>
            <a:fillRect/>
          </a:stretch>
        </p:blipFill>
        <p:spPr>
          <a:xfrm>
            <a:off x="1229806" y="241833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88555" y="6381711"/>
            <a:ext cx="2279936" cy="3599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5">
            <a:extLst>
              <a:ext uri="{FF2B5EF4-FFF2-40B4-BE49-F238E27FC236}">
                <a16:creationId xmlns:a16="http://schemas.microsoft.com/office/drawing/2014/main" id="{6047E315-1318-59C3-4771-FA15256362A6}"/>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459C3EED-6A43-12DF-47BB-0C5A58C09669}"/>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183FC3-4592-ACCF-2B0F-3CE908D14F9B}"/>
              </a:ext>
            </a:extLst>
          </p:cNvPr>
          <p:cNvSpPr txBox="1"/>
          <p:nvPr/>
        </p:nvSpPr>
        <p:spPr>
          <a:xfrm>
            <a:off x="7865275" y="2398188"/>
            <a:ext cx="1278725" cy="4249305"/>
          </a:xfrm>
          <a:prstGeom prst="rect">
            <a:avLst/>
          </a:prstGeom>
          <a:noFill/>
        </p:spPr>
        <p:txBody>
          <a:bodyPr wrap="square" lIns="0" rIns="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医療機関側でマイナ在宅</a:t>
            </a:r>
            <a:r>
              <a:rPr lang="en-US" altLang="ja-JP" sz="1400" dirty="0">
                <a:solidFill>
                  <a:schemeClr val="accent1"/>
                </a:solidFill>
                <a:latin typeface="BIZ UDPゴシック" panose="020B0400000000000000" pitchFamily="50" charset="-128"/>
                <a:ea typeface="BIZ UDPゴシック" panose="020B0400000000000000" pitchFamily="50" charset="-128"/>
              </a:rPr>
              <a:t>Web</a:t>
            </a:r>
            <a:r>
              <a:rPr lang="ja-JP" altLang="en-US" sz="1400" dirty="0">
                <a:solidFill>
                  <a:schemeClr val="accent1"/>
                </a:solidFill>
                <a:latin typeface="BIZ UDPゴシック" panose="020B0400000000000000" pitchFamily="50" charset="-128"/>
                <a:ea typeface="BIZ UDPゴシック" panose="020B0400000000000000" pitchFamily="50" charset="-128"/>
              </a:rPr>
              <a:t>設定が行なわれている場合、資格確認をマイナンバーカードで提出することも可能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https://clinics-support.medley.life/hc/ja/articles/31206403096857</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58251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70C47B5-C1C0-606F-40CE-2F31FE7F0E8C}"/>
              </a:ext>
            </a:extLst>
          </p:cNvPr>
          <p:cNvPicPr>
            <a:picLocks noChangeAspect="1"/>
          </p:cNvPicPr>
          <p:nvPr/>
        </p:nvPicPr>
        <p:blipFill>
          <a:blip r:embed="rId4"/>
          <a:stretch>
            <a:fillRect/>
          </a:stretch>
        </p:blipFill>
        <p:spPr>
          <a:xfrm>
            <a:off x="5418889" y="2407301"/>
            <a:ext cx="2450804" cy="4340728"/>
          </a:xfrm>
          <a:prstGeom prst="rect">
            <a:avLst/>
          </a:prstGeom>
        </p:spPr>
      </p:pic>
      <p:pic>
        <p:nvPicPr>
          <p:cNvPr id="16" name="図 15">
            <a:extLst>
              <a:ext uri="{FF2B5EF4-FFF2-40B4-BE49-F238E27FC236}">
                <a16:creationId xmlns:a16="http://schemas.microsoft.com/office/drawing/2014/main" id="{AB3848BD-018D-A1C3-5662-326ED38EAECB}"/>
              </a:ext>
            </a:extLst>
          </p:cNvPr>
          <p:cNvPicPr>
            <a:picLocks noChangeAspect="1"/>
          </p:cNvPicPr>
          <p:nvPr/>
        </p:nvPicPr>
        <p:blipFill>
          <a:blip r:embed="rId5"/>
          <a:stretch>
            <a:fillRect/>
          </a:stretch>
        </p:blipFill>
        <p:spPr>
          <a:xfrm>
            <a:off x="1232117" y="2407301"/>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を希望する場合に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54983" y="6359232"/>
            <a:ext cx="23926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0FAB27DC-BD6A-C761-F406-7B115FD2964C}"/>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44A78481-AF80-5204-7C32-981B446944C7}"/>
              </a:ext>
            </a:extLst>
          </p:cNvPr>
          <p:cNvSpPr/>
          <p:nvPr/>
        </p:nvSpPr>
        <p:spPr>
          <a:xfrm>
            <a:off x="1271192" y="4182649"/>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50982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BC4661-3E0A-BD0A-4F0F-7CAFF94B4646}"/>
              </a:ext>
            </a:extLst>
          </p:cNvPr>
          <p:cNvPicPr>
            <a:picLocks noChangeAspect="1"/>
          </p:cNvPicPr>
          <p:nvPr/>
        </p:nvPicPr>
        <p:blipFill>
          <a:blip r:embed="rId4"/>
          <a:stretch>
            <a:fillRect/>
          </a:stretch>
        </p:blipFill>
        <p:spPr>
          <a:xfrm>
            <a:off x="5398168" y="2413399"/>
            <a:ext cx="2450804" cy="4340728"/>
          </a:xfrm>
          <a:prstGeom prst="rect">
            <a:avLst/>
          </a:prstGeom>
        </p:spPr>
      </p:pic>
      <p:pic>
        <p:nvPicPr>
          <p:cNvPr id="8" name="図 7">
            <a:extLst>
              <a:ext uri="{FF2B5EF4-FFF2-40B4-BE49-F238E27FC236}">
                <a16:creationId xmlns:a16="http://schemas.microsoft.com/office/drawing/2014/main" id="{2ECFA3B6-F44E-10B9-0AA7-B00BD750CABA}"/>
              </a:ext>
            </a:extLst>
          </p:cNvPr>
          <p:cNvPicPr>
            <a:picLocks noChangeAspect="1"/>
          </p:cNvPicPr>
          <p:nvPr/>
        </p:nvPicPr>
        <p:blipFill>
          <a:blip r:embed="rId5"/>
          <a:stretch>
            <a:fillRect/>
          </a:stretch>
        </p:blipFill>
        <p:spPr>
          <a:xfrm>
            <a:off x="1239931" y="2413399"/>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情報を確認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19" name="タイトル 18">
            <a:extLst>
              <a:ext uri="{FF2B5EF4-FFF2-40B4-BE49-F238E27FC236}">
                <a16:creationId xmlns:a16="http://schemas.microsoft.com/office/drawing/2014/main" id="{644D9660-11FF-F767-A4BB-BE460DCC39B9}"/>
              </a:ext>
            </a:extLst>
          </p:cNvPr>
          <p:cNvSpPr>
            <a:spLocks noGrp="1"/>
          </p:cNvSpPr>
          <p:nvPr>
            <p:ph type="ctrTitle"/>
          </p:nvPr>
        </p:nvSpPr>
        <p:spPr/>
        <p:txBody>
          <a:bodyPr/>
          <a:lstStyle/>
          <a:p>
            <a:r>
              <a:rPr lang="en-US" altLang="ja-JP" dirty="0"/>
              <a:t>【10】</a:t>
            </a:r>
            <a:r>
              <a:rPr lang="ja-JP" altLang="en-US" dirty="0"/>
              <a:t>問診票等の入力</a:t>
            </a:r>
          </a:p>
        </p:txBody>
      </p:sp>
      <p:sp>
        <p:nvSpPr>
          <p:cNvPr id="3" name="四角形: 角を丸くする 2">
            <a:extLst>
              <a:ext uri="{FF2B5EF4-FFF2-40B4-BE49-F238E27FC236}">
                <a16:creationId xmlns:a16="http://schemas.microsoft.com/office/drawing/2014/main" id="{6E4907F0-1EE1-947A-8FD4-D58EB476DB13}"/>
              </a:ext>
            </a:extLst>
          </p:cNvPr>
          <p:cNvSpPr/>
          <p:nvPr/>
        </p:nvSpPr>
        <p:spPr>
          <a:xfrm>
            <a:off x="1271192" y="6338021"/>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B13C2BD-E1FD-386D-8325-D36F8F9F2E8E}"/>
              </a:ext>
            </a:extLst>
          </p:cNvPr>
          <p:cNvSpPr/>
          <p:nvPr/>
        </p:nvSpPr>
        <p:spPr>
          <a:xfrm>
            <a:off x="5426180"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743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55A0F71A-80AA-C908-8D31-652C886B9DEB}"/>
              </a:ext>
            </a:extLst>
          </p:cNvPr>
          <p:cNvPicPr>
            <a:picLocks noChangeAspect="1"/>
          </p:cNvPicPr>
          <p:nvPr/>
        </p:nvPicPr>
        <p:blipFill>
          <a:blip r:embed="rId4"/>
          <a:stretch>
            <a:fillRect/>
          </a:stretch>
        </p:blipFill>
        <p:spPr>
          <a:xfrm>
            <a:off x="5411810" y="2413399"/>
            <a:ext cx="2450804" cy="4340728"/>
          </a:xfrm>
          <a:prstGeom prst="rect">
            <a:avLst/>
          </a:prstGeom>
        </p:spPr>
      </p:pic>
      <p:pic>
        <p:nvPicPr>
          <p:cNvPr id="18" name="図 17">
            <a:extLst>
              <a:ext uri="{FF2B5EF4-FFF2-40B4-BE49-F238E27FC236}">
                <a16:creationId xmlns:a16="http://schemas.microsoft.com/office/drawing/2014/main" id="{D64B9577-411F-BEE3-09EA-A064B96FACA2}"/>
              </a:ext>
            </a:extLst>
          </p:cNvPr>
          <p:cNvPicPr>
            <a:picLocks noChangeAspect="1"/>
          </p:cNvPicPr>
          <p:nvPr/>
        </p:nvPicPr>
        <p:blipFill>
          <a:blip r:embed="rId5"/>
          <a:stretch>
            <a:fillRect/>
          </a:stretch>
        </p:blipFill>
        <p:spPr>
          <a:xfrm>
            <a:off x="1246068" y="241339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0759"/>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7" name="タイトル 6">
            <a:extLst>
              <a:ext uri="{FF2B5EF4-FFF2-40B4-BE49-F238E27FC236}">
                <a16:creationId xmlns:a16="http://schemas.microsoft.com/office/drawing/2014/main" id="{A457D963-D54F-D4BF-F945-2B4C6C536CD6}"/>
              </a:ext>
            </a:extLst>
          </p:cNvPr>
          <p:cNvSpPr>
            <a:spLocks noGrp="1"/>
          </p:cNvSpPr>
          <p:nvPr>
            <p:ph type="ctrTitle"/>
          </p:nvPr>
        </p:nvSpPr>
        <p:spPr/>
        <p:txBody>
          <a:bodyPr/>
          <a:lstStyle/>
          <a:p>
            <a:r>
              <a:rPr lang="en-US" altLang="ja-JP" dirty="0"/>
              <a:t>【10】</a:t>
            </a:r>
            <a:r>
              <a:rPr lang="ja-JP" altLang="en-US" dirty="0"/>
              <a:t>問診票等の入力</a:t>
            </a:r>
          </a:p>
        </p:txBody>
      </p:sp>
      <p:sp>
        <p:nvSpPr>
          <p:cNvPr id="8" name="四角形: 角を丸くする 7">
            <a:extLst>
              <a:ext uri="{FF2B5EF4-FFF2-40B4-BE49-F238E27FC236}">
                <a16:creationId xmlns:a16="http://schemas.microsoft.com/office/drawing/2014/main" id="{1CD39346-7843-37FC-6B1D-C791CBE24780}"/>
              </a:ext>
            </a:extLst>
          </p:cNvPr>
          <p:cNvSpPr/>
          <p:nvPr/>
        </p:nvSpPr>
        <p:spPr>
          <a:xfrm>
            <a:off x="5448924" y="6356479"/>
            <a:ext cx="2376265"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0B8B2B0-1027-1EB9-6A07-8111A422F73A}"/>
              </a:ext>
            </a:extLst>
          </p:cNvPr>
          <p:cNvSpPr/>
          <p:nvPr/>
        </p:nvSpPr>
        <p:spPr>
          <a:xfrm>
            <a:off x="1281386" y="6356479"/>
            <a:ext cx="2393468"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16960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8AC094DA-43D0-27E2-5848-5838DD33810F}"/>
              </a:ext>
            </a:extLst>
          </p:cNvPr>
          <p:cNvPicPr>
            <a:picLocks noChangeAspect="1"/>
          </p:cNvPicPr>
          <p:nvPr/>
        </p:nvPicPr>
        <p:blipFill>
          <a:blip r:embed="rId4"/>
          <a:stretch>
            <a:fillRect/>
          </a:stretch>
        </p:blipFill>
        <p:spPr>
          <a:xfrm>
            <a:off x="5399642" y="2412070"/>
            <a:ext cx="2450804" cy="4340728"/>
          </a:xfrm>
          <a:prstGeom prst="rect">
            <a:avLst/>
          </a:prstGeom>
        </p:spPr>
      </p:pic>
      <p:pic>
        <p:nvPicPr>
          <p:cNvPr id="16" name="図 15">
            <a:extLst>
              <a:ext uri="{FF2B5EF4-FFF2-40B4-BE49-F238E27FC236}">
                <a16:creationId xmlns:a16="http://schemas.microsoft.com/office/drawing/2014/main" id="{211C7488-3416-6FD6-EEE3-F815D7BBB565}"/>
              </a:ext>
            </a:extLst>
          </p:cNvPr>
          <p:cNvPicPr>
            <a:picLocks noChangeAspect="1"/>
          </p:cNvPicPr>
          <p:nvPr/>
        </p:nvPicPr>
        <p:blipFill>
          <a:blip r:embed="rId5"/>
          <a:stretch>
            <a:fillRect/>
          </a:stretch>
        </p:blipFill>
        <p:spPr>
          <a:xfrm>
            <a:off x="1246068" y="2412070"/>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04100"/>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6" name="四角形: 角を丸くする 5">
            <a:extLst>
              <a:ext uri="{FF2B5EF4-FFF2-40B4-BE49-F238E27FC236}">
                <a16:creationId xmlns:a16="http://schemas.microsoft.com/office/drawing/2014/main" id="{B9D9B019-4F29-0F94-BED9-28BAB68A784F}"/>
              </a:ext>
            </a:extLst>
          </p:cNvPr>
          <p:cNvSpPr/>
          <p:nvPr/>
        </p:nvSpPr>
        <p:spPr>
          <a:xfrm>
            <a:off x="5421660" y="6363355"/>
            <a:ext cx="2389241" cy="3550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73B1DF43-F017-D173-FEFF-4F6D9FE9A70E}"/>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DE063F0A-CF68-3619-CB9A-FD70557B7EB6}"/>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680934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37E15A9B-4D04-8755-837D-DC29FD6E1D2F}"/>
              </a:ext>
            </a:extLst>
          </p:cNvPr>
          <p:cNvPicPr>
            <a:picLocks noChangeAspect="1"/>
          </p:cNvPicPr>
          <p:nvPr/>
        </p:nvPicPr>
        <p:blipFill>
          <a:blip r:embed="rId4"/>
          <a:stretch>
            <a:fillRect/>
          </a:stretch>
        </p:blipFill>
        <p:spPr>
          <a:xfrm>
            <a:off x="3336130" y="240229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9392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確定」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47139" y="6330476"/>
            <a:ext cx="2428786"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4" name="テキスト ボックス 3">
            <a:extLst>
              <a:ext uri="{FF2B5EF4-FFF2-40B4-BE49-F238E27FC236}">
                <a16:creationId xmlns:a16="http://schemas.microsoft.com/office/drawing/2014/main" id="{B8EB4211-F9BA-E206-1916-90B5E3286514}"/>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715705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E059750-F645-7486-4488-387D8D87D213}"/>
              </a:ext>
            </a:extLst>
          </p:cNvPr>
          <p:cNvPicPr>
            <a:picLocks noChangeAspect="1"/>
          </p:cNvPicPr>
          <p:nvPr/>
        </p:nvPicPr>
        <p:blipFill>
          <a:blip r:embed="rId4"/>
          <a:stretch>
            <a:fillRect/>
          </a:stretch>
        </p:blipFill>
        <p:spPr>
          <a:xfrm>
            <a:off x="5406760" y="2369223"/>
            <a:ext cx="2450804" cy="4346825"/>
          </a:xfrm>
          <a:prstGeom prst="rect">
            <a:avLst/>
          </a:prstGeom>
        </p:spPr>
      </p:pic>
      <p:pic>
        <p:nvPicPr>
          <p:cNvPr id="5" name="Picture 3">
            <a:extLst>
              <a:ext uri="{FF2B5EF4-FFF2-40B4-BE49-F238E27FC236}">
                <a16:creationId xmlns:a16="http://schemas.microsoft.com/office/drawing/2014/main" id="{DEA3425F-F18A-3833-3DEF-B2BF78E78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004" y="238263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320716" y="2511191"/>
            <a:ext cx="312821"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6523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ビデオ通話の事前テスト」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F3E1E7AD-D07B-8768-C49D-1EB3C5492AFF}"/>
              </a:ext>
            </a:extLst>
          </p:cNvPr>
          <p:cNvSpPr>
            <a:spLocks noGrp="1"/>
          </p:cNvSpPr>
          <p:nvPr>
            <p:ph type="ctrTitle"/>
          </p:nvPr>
        </p:nvSpPr>
        <p:spPr/>
        <p:txBody>
          <a:bodyPr/>
          <a:lstStyle/>
          <a:p>
            <a:r>
              <a:rPr lang="en-US" altLang="ja-JP" dirty="0"/>
              <a:t>【11】</a:t>
            </a:r>
            <a:r>
              <a:rPr lang="ja-JP" altLang="en-US" dirty="0"/>
              <a:t>診療前の事前準備</a:t>
            </a:r>
          </a:p>
        </p:txBody>
      </p:sp>
      <p:sp>
        <p:nvSpPr>
          <p:cNvPr id="10" name="四角形: 角を丸くする 9">
            <a:extLst>
              <a:ext uri="{FF2B5EF4-FFF2-40B4-BE49-F238E27FC236}">
                <a16:creationId xmlns:a16="http://schemas.microsoft.com/office/drawing/2014/main" id="{DE3E94C5-BF88-A5E1-3C90-64AD08993646}"/>
              </a:ext>
            </a:extLst>
          </p:cNvPr>
          <p:cNvSpPr/>
          <p:nvPr/>
        </p:nvSpPr>
        <p:spPr>
          <a:xfrm>
            <a:off x="5532437" y="4830488"/>
            <a:ext cx="2213069"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3480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5FE8C9B-0969-E98D-8E7A-1865D8BA1C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3167"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5D4E8EE-3C0A-FAF7-FD80-0936850013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4"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くりにくす」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5575D82-0A82-07A5-D428-E5F4CCB38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2220" y="234511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3CB1EFD6-BB5B-2BC6-529D-F0093F7562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7934"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55972" y="5345002"/>
            <a:ext cx="135946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91095" y="5345002"/>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
        <p:nvSpPr>
          <p:cNvPr id="19" name="タイトル 1">
            <a:extLst>
              <a:ext uri="{FF2B5EF4-FFF2-40B4-BE49-F238E27FC236}">
                <a16:creationId xmlns:a16="http://schemas.microsoft.com/office/drawing/2014/main" id="{7C46227D-613D-2071-C816-9F3DB0D625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サブタイトル 2">
            <a:extLst>
              <a:ext uri="{FF2B5EF4-FFF2-40B4-BE49-F238E27FC236}">
                <a16:creationId xmlns:a16="http://schemas.microsoft.com/office/drawing/2014/main" id="{6A4B4709-3B24-10B9-E1CA-C36BC34BE6C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9160B0C8-7E87-6427-20E6-9FC69BCFFAC4}"/>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56C9A7C3-E12F-3F21-5023-CE2D37EF96A9}"/>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484114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5">
            <a:extLst>
              <a:ext uri="{FF2B5EF4-FFF2-40B4-BE49-F238E27FC236}">
                <a16:creationId xmlns:a16="http://schemas.microsoft.com/office/drawing/2014/main" id="{70FE42C3-1A44-592E-A6D7-331CE1AD1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76ACDCD-F4E5-BF8C-75BF-63D42BB809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664840" y="4750327"/>
            <a:ext cx="860753" cy="28292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2456917" y="4811842"/>
            <a:ext cx="825929" cy="2923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5" name="テキスト ボックス 4">
            <a:extLst>
              <a:ext uri="{FF2B5EF4-FFF2-40B4-BE49-F238E27FC236}">
                <a16:creationId xmlns:a16="http://schemas.microsoft.com/office/drawing/2014/main" id="{40832486-DF43-25B7-2FF6-40D85330DF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2BFC6D9-D644-A157-6504-47AE35B72983}"/>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BEB8A7B4-DED5-02FC-743C-4C6EF6F98D0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AEEE2CD6-0E5C-B24D-1F4D-5D08775E1649}"/>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2" name="タイトル 1">
            <a:extLst>
              <a:ext uri="{FF2B5EF4-FFF2-40B4-BE49-F238E27FC236}">
                <a16:creationId xmlns:a16="http://schemas.microsoft.com/office/drawing/2014/main" id="{90D60A70-8B0C-6A22-84B9-5EA2B41A75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3" name="サブタイトル 2">
            <a:extLst>
              <a:ext uri="{FF2B5EF4-FFF2-40B4-BE49-F238E27FC236}">
                <a16:creationId xmlns:a16="http://schemas.microsoft.com/office/drawing/2014/main" id="{730E8744-2E18-7D5C-492C-2A550F1BCD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12017866-F241-D9B7-EEE4-3A83652A4677}"/>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8DBE55C3-D3A1-95A0-08F7-DE3D045EBE80}"/>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1534783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481438A-89AC-DA29-3E1E-2866CF6C51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14035" y="3345993"/>
            <a:ext cx="1244521" cy="9670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0509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話し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0578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のマークが青くな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タイトル 5">
            <a:extLst>
              <a:ext uri="{FF2B5EF4-FFF2-40B4-BE49-F238E27FC236}">
                <a16:creationId xmlns:a16="http://schemas.microsoft.com/office/drawing/2014/main" id="{BDAD1066-8AA1-46C5-A2DF-D9185E198C69}"/>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661242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726C078-CF78-EF69-13A2-09E25F17A9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90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03642" y="4753332"/>
            <a:ext cx="1665307" cy="3689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1993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3283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音が鳴っていることを確認し、「音を止めて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1354280" y="5035879"/>
            <a:ext cx="2181939"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9">
            <a:extLst>
              <a:ext uri="{FF2B5EF4-FFF2-40B4-BE49-F238E27FC236}">
                <a16:creationId xmlns:a16="http://schemas.microsoft.com/office/drawing/2014/main" id="{47830EB4-AAA4-FA89-D4E2-7B40F240883C}"/>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1180103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C1586C4-1323-2165-B1F1-33A029EC00BE}"/>
              </a:ext>
            </a:extLst>
          </p:cNvPr>
          <p:cNvPicPr>
            <a:picLocks noChangeAspect="1"/>
          </p:cNvPicPr>
          <p:nvPr/>
        </p:nvPicPr>
        <p:blipFill>
          <a:blip r:embed="rId4"/>
          <a:stretch>
            <a:fillRect/>
          </a:stretch>
        </p:blipFill>
        <p:spPr>
          <a:xfrm>
            <a:off x="5404835" y="2396228"/>
            <a:ext cx="2456901" cy="4340728"/>
          </a:xfrm>
          <a:prstGeom prst="rect">
            <a:avLst/>
          </a:prstGeom>
        </p:spPr>
      </p:pic>
      <p:pic>
        <p:nvPicPr>
          <p:cNvPr id="4" name="Picture 3">
            <a:extLst>
              <a:ext uri="{FF2B5EF4-FFF2-40B4-BE49-F238E27FC236}">
                <a16:creationId xmlns:a16="http://schemas.microsoft.com/office/drawing/2014/main" id="{F16A06BF-0CFA-FE6E-B218-92BEE04064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7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25023" y="3376861"/>
            <a:ext cx="1430637" cy="13407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2456919" y="2795444"/>
            <a:ext cx="1214393"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7769927" y="4031374"/>
            <a:ext cx="1491489" cy="1475917"/>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メラにご自身の顔が映れば</a:t>
            </a:r>
            <a:r>
              <a:rPr lang="en-US" altLang="ja-JP" sz="1800" dirty="0">
                <a:solidFill>
                  <a:schemeClr val="accent1"/>
                </a:solidFill>
                <a:latin typeface="BIZ UDPゴシック" panose="020B0400000000000000" pitchFamily="50" charset="-128"/>
                <a:ea typeface="BIZ UDPゴシック" panose="020B0400000000000000" pitchFamily="50" charset="-128"/>
              </a:rPr>
              <a:t>OK</a:t>
            </a:r>
            <a:r>
              <a:rPr lang="ja-JP" altLang="en-US" sz="1800" dirty="0">
                <a:solidFill>
                  <a:schemeClr val="accent1"/>
                </a:solidFill>
                <a:latin typeface="BIZ UDPゴシック" panose="020B0400000000000000" pitchFamily="50" charset="-128"/>
                <a:ea typeface="BIZ UDPゴシック" panose="020B0400000000000000" pitchFamily="50" charset="-128"/>
              </a:rPr>
              <a:t>です</a:t>
            </a:r>
          </a:p>
        </p:txBody>
      </p:sp>
      <p:sp>
        <p:nvSpPr>
          <p:cNvPr id="7" name="タイトル 6">
            <a:extLst>
              <a:ext uri="{FF2B5EF4-FFF2-40B4-BE49-F238E27FC236}">
                <a16:creationId xmlns:a16="http://schemas.microsoft.com/office/drawing/2014/main" id="{65E3F992-C982-7A24-B458-601F9EB53C0D}"/>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F92DBA9B-10CD-77E4-759D-5E8BDC1F85ED}"/>
              </a:ext>
            </a:extLst>
          </p:cNvPr>
          <p:cNvSpPr txBox="1"/>
          <p:nvPr/>
        </p:nvSpPr>
        <p:spPr>
          <a:xfrm>
            <a:off x="1412436" y="1512998"/>
            <a:ext cx="281993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画」を押します</a:t>
            </a:r>
          </a:p>
        </p:txBody>
      </p:sp>
      <p:sp>
        <p:nvSpPr>
          <p:cNvPr id="10" name="テキスト ボックス 9">
            <a:extLst>
              <a:ext uri="{FF2B5EF4-FFF2-40B4-BE49-F238E27FC236}">
                <a16:creationId xmlns:a16="http://schemas.microsoft.com/office/drawing/2014/main" id="{8CA3DB57-1A0C-DA7F-FDC1-7A28DED82BD0}"/>
              </a:ext>
            </a:extLst>
          </p:cNvPr>
          <p:cNvSpPr txBox="1"/>
          <p:nvPr/>
        </p:nvSpPr>
        <p:spPr>
          <a:xfrm>
            <a:off x="5641009" y="1512998"/>
            <a:ext cx="332839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が映ることを確認します</a:t>
            </a:r>
          </a:p>
        </p:txBody>
      </p:sp>
    </p:spTree>
    <p:extLst>
      <p:ext uri="{BB962C8B-B14F-4D97-AF65-F5344CB8AC3E}">
        <p14:creationId xmlns:p14="http://schemas.microsoft.com/office/powerpoint/2010/main" val="38341103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0C1385C-352C-DBD1-67B3-E88B279E7ADB}"/>
              </a:ext>
            </a:extLst>
          </p:cNvPr>
          <p:cNvPicPr>
            <a:picLocks noChangeAspect="1"/>
          </p:cNvPicPr>
          <p:nvPr/>
        </p:nvPicPr>
        <p:blipFill>
          <a:blip r:embed="rId4"/>
          <a:stretch>
            <a:fillRect/>
          </a:stretch>
        </p:blipFill>
        <p:spPr>
          <a:xfrm>
            <a:off x="5547319" y="2385245"/>
            <a:ext cx="2186043" cy="4314221"/>
          </a:xfrm>
          <a:prstGeom prst="rect">
            <a:avLst/>
          </a:prstGeom>
        </p:spPr>
      </p:pic>
      <p:pic>
        <p:nvPicPr>
          <p:cNvPr id="7" name="図 6">
            <a:extLst>
              <a:ext uri="{FF2B5EF4-FFF2-40B4-BE49-F238E27FC236}">
                <a16:creationId xmlns:a16="http://schemas.microsoft.com/office/drawing/2014/main" id="{9BAF0357-6849-5890-C458-F08B6E3ADA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3897" y="2385245"/>
            <a:ext cx="2186043" cy="4317887"/>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2410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師からの呼び出し通知に応答</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はい」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242878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療が始ま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875487"/>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通知が届きます</a:t>
            </a:r>
            <a:endParaRPr lang="ja-JP" altLang="en-US" sz="18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3578234" y="4416044"/>
            <a:ext cx="1955101"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医師が診察開始の呼び出しをおこなうと画面に診察の呼び出し通知が表示されます</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11C87D3-D4A3-6050-9EEB-16E17E38E7DB}"/>
              </a:ext>
            </a:extLst>
          </p:cNvPr>
          <p:cNvSpPr txBox="1"/>
          <p:nvPr/>
        </p:nvSpPr>
        <p:spPr>
          <a:xfrm>
            <a:off x="284326" y="1163849"/>
            <a:ext cx="8640692" cy="395621"/>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電波状況の良いプライバシーが確保出来る場所で、診察準備をしてお待ち下さい</a:t>
            </a:r>
          </a:p>
        </p:txBody>
      </p:sp>
      <p:sp>
        <p:nvSpPr>
          <p:cNvPr id="6" name="四角形: 角を丸くする 5">
            <a:extLst>
              <a:ext uri="{FF2B5EF4-FFF2-40B4-BE49-F238E27FC236}">
                <a16:creationId xmlns:a16="http://schemas.microsoft.com/office/drawing/2014/main" id="{E0531AC0-02CE-7F2C-1EED-8A8BF3AB957A}"/>
              </a:ext>
            </a:extLst>
          </p:cNvPr>
          <p:cNvSpPr/>
          <p:nvPr/>
        </p:nvSpPr>
        <p:spPr>
          <a:xfrm>
            <a:off x="2456919" y="4641718"/>
            <a:ext cx="690884" cy="27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23">
            <a:extLst>
              <a:ext uri="{FF2B5EF4-FFF2-40B4-BE49-F238E27FC236}">
                <a16:creationId xmlns:a16="http://schemas.microsoft.com/office/drawing/2014/main" id="{E9C65039-4F8A-9D0D-4FC0-6E5F04DB9D7E}"/>
              </a:ext>
            </a:extLst>
          </p:cNvPr>
          <p:cNvSpPr>
            <a:spLocks noGrp="1"/>
          </p:cNvSpPr>
          <p:nvPr>
            <p:ph type="ctrTitle"/>
          </p:nvPr>
        </p:nvSpPr>
        <p:spPr/>
        <p:txBody>
          <a:bodyPr/>
          <a:lstStyle/>
          <a:p>
            <a:r>
              <a:rPr lang="en-US" altLang="ja-JP" dirty="0"/>
              <a:t>【12】</a:t>
            </a:r>
            <a:r>
              <a:rPr lang="ja-JP" altLang="en-US" dirty="0"/>
              <a:t>ビデオ通話で診察</a:t>
            </a:r>
          </a:p>
        </p:txBody>
      </p:sp>
    </p:spTree>
    <p:extLst>
      <p:ext uri="{BB962C8B-B14F-4D97-AF65-F5344CB8AC3E}">
        <p14:creationId xmlns:p14="http://schemas.microsoft.com/office/powerpoint/2010/main" val="3165958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pic>
        <p:nvPicPr>
          <p:cNvPr id="10" name="図 9" descr="患者様ヘルプページのQRコード">
            <a:extLst>
              <a:ext uri="{FF2B5EF4-FFF2-40B4-BE49-F238E27FC236}">
                <a16:creationId xmlns:a16="http://schemas.microsoft.com/office/drawing/2014/main" id="{CF7837F9-8B4B-1352-3937-793AAC41D3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200" y="1299575"/>
            <a:ext cx="1404000" cy="1404000"/>
          </a:xfrm>
          <a:prstGeom prst="rect">
            <a:avLst/>
          </a:prstGeom>
        </p:spPr>
      </p:pic>
      <p:sp>
        <p:nvSpPr>
          <p:cNvPr id="11" name="object 18">
            <a:extLst>
              <a:ext uri="{FF2B5EF4-FFF2-40B4-BE49-F238E27FC236}">
                <a16:creationId xmlns:a16="http://schemas.microsoft.com/office/drawing/2014/main" id="{4D3F18A5-4B6B-C287-8C3B-E9AB5408167A}"/>
              </a:ext>
            </a:extLst>
          </p:cNvPr>
          <p:cNvSpPr txBox="1"/>
          <p:nvPr/>
        </p:nvSpPr>
        <p:spPr>
          <a:xfrm>
            <a:off x="1852199" y="1377758"/>
            <a:ext cx="7178729" cy="4698850"/>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様ヘルプページ</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ご利用に際してお困りのとき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患者様ヘルプページを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お問い合わせフォーム</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のお問い合わせフォームもご活用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も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effectLst/>
                <a:latin typeface="BIZ UDPゴシック" panose="020B0400000000000000" pitchFamily="50" charset="-128"/>
                <a:ea typeface="BIZ UDPゴシック" panose="020B0400000000000000" pitchFamily="50" charset="-128"/>
                <a:cs typeface="Meiryo" charset="-128"/>
              </a:rPr>
              <a:t>https://clinics-support.medley.life/hc/ja/requests/new</a:t>
            </a:r>
          </a:p>
          <a:p>
            <a:pPr marL="12700">
              <a:lnSpc>
                <a:spcPct val="125000"/>
              </a:lnSpc>
              <a:spcBef>
                <a:spcPts val="95"/>
              </a:spcBef>
              <a:tabLst>
                <a:tab pos="352425" algn="l"/>
              </a:tabLst>
            </a:pPr>
            <a:endParaRPr lang="en-US" altLang="ja-JP" sz="1800" dirty="0">
              <a:solidFill>
                <a:srgbClr val="4472C4"/>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CLINICS</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相談窓口</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患者様ヘルプページをご覧いただいても解決できなかった場合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相談窓口までお気軽にご連絡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a:lnSpc>
                <a:spcPct val="125000"/>
              </a:lnSpc>
            </a:pPr>
            <a:r>
              <a:rPr lang="ja-JP" altLang="ja-JP" sz="1800" dirty="0">
                <a:latin typeface="BIZ UDPゴシック" panose="020B0400000000000000" pitchFamily="50" charset="-128"/>
                <a:ea typeface="BIZ UDPゴシック" panose="020B0400000000000000" pitchFamily="50" charset="-128"/>
                <a:cs typeface="Meiryo" charset="-128"/>
              </a:rPr>
              <a:t>電話：</a:t>
            </a:r>
            <a:r>
              <a:rPr lang="en-US" altLang="ja-JP" sz="2400" dirty="0">
                <a:latin typeface="BIZ UDPゴシック" panose="020B0400000000000000" pitchFamily="50" charset="-128"/>
                <a:ea typeface="BIZ UDPゴシック" panose="020B0400000000000000" pitchFamily="50" charset="-128"/>
                <a:cs typeface="Meiryo" charset="-128"/>
              </a:rPr>
              <a:t>0120-13-1540</a:t>
            </a:r>
            <a:r>
              <a:rPr lang="ja-JP" altLang="ja-JP" sz="1800" dirty="0">
                <a:latin typeface="BIZ UDPゴシック" panose="020B0400000000000000" pitchFamily="50" charset="-128"/>
                <a:ea typeface="BIZ UDPゴシック" panose="020B0400000000000000" pitchFamily="50" charset="-128"/>
                <a:cs typeface="Meiryo" charset="-128"/>
              </a:rPr>
              <a:t>（平日</a:t>
            </a:r>
            <a:r>
              <a:rPr lang="en-US" altLang="ja-JP" sz="1800" dirty="0">
                <a:latin typeface="BIZ UDPゴシック" panose="020B0400000000000000" pitchFamily="50" charset="-128"/>
                <a:ea typeface="BIZ UDPゴシック" panose="020B0400000000000000" pitchFamily="50" charset="-128"/>
                <a:cs typeface="Meiryo" charset="-128"/>
              </a:rPr>
              <a:t>9</a:t>
            </a:r>
            <a:r>
              <a:rPr lang="ja-JP" altLang="ja-JP" sz="1800" dirty="0">
                <a:latin typeface="BIZ UDPゴシック" panose="020B0400000000000000" pitchFamily="50" charset="-128"/>
                <a:ea typeface="BIZ UDPゴシック" panose="020B0400000000000000" pitchFamily="50" charset="-128"/>
                <a:cs typeface="Meiryo" charset="-128"/>
              </a:rPr>
              <a:t>～</a:t>
            </a:r>
            <a:r>
              <a:rPr lang="en-US" altLang="ja-JP" sz="1800" dirty="0">
                <a:latin typeface="BIZ UDPゴシック" panose="020B0400000000000000" pitchFamily="50" charset="-128"/>
                <a:ea typeface="BIZ UDPゴシック" panose="020B0400000000000000" pitchFamily="50" charset="-128"/>
                <a:cs typeface="Meiryo" charset="-128"/>
              </a:rPr>
              <a:t>19</a:t>
            </a:r>
            <a:r>
              <a:rPr lang="ja-JP" altLang="ja-JP" sz="1800" dirty="0">
                <a:latin typeface="BIZ UDPゴシック" panose="020B0400000000000000" pitchFamily="50" charset="-128"/>
                <a:ea typeface="BIZ UDPゴシック" panose="020B0400000000000000" pitchFamily="50" charset="-128"/>
                <a:cs typeface="Meiryo" charset="-128"/>
              </a:rPr>
              <a:t>時）</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pic>
        <p:nvPicPr>
          <p:cNvPr id="12" name="Object" descr="お問い合わせフォームのQRコード">
            <a:extLst>
              <a:ext uri="{FF2B5EF4-FFF2-40B4-BE49-F238E27FC236}">
                <a16:creationId xmlns:a16="http://schemas.microsoft.com/office/drawing/2014/main" id="{26F2841F-A3D5-5ECF-847E-7E4CC6E9DC71}"/>
              </a:ext>
            </a:extLst>
          </p:cNvPr>
          <p:cNvPicPr preferRelativeResize="0">
            <a:picLocks noChangeArrowheads="1" noChangeShapeType="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600" y="2692400"/>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
        <p:nvSpPr>
          <p:cNvPr id="3" name="タイトル 23">
            <a:extLst>
              <a:ext uri="{FF2B5EF4-FFF2-40B4-BE49-F238E27FC236}">
                <a16:creationId xmlns:a16="http://schemas.microsoft.com/office/drawing/2014/main" id="{D5074C6F-DCDC-C7B6-7C88-BC5A7273B89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3】</a:t>
            </a:r>
            <a:r>
              <a:rPr lang="ja-JP" altLang="en-US" sz="2799" dirty="0">
                <a:solidFill>
                  <a:srgbClr val="4472C4"/>
                </a:solidFill>
              </a:rPr>
              <a:t>操作に困ったときのご案内</a:t>
            </a:r>
          </a:p>
        </p:txBody>
      </p:sp>
    </p:spTree>
    <p:extLst>
      <p:ext uri="{BB962C8B-B14F-4D97-AF65-F5344CB8AC3E}">
        <p14:creationId xmlns:p14="http://schemas.microsoft.com/office/powerpoint/2010/main" val="17761877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EA60BBA-FA4A-DFEE-BA55-D5F5C34B1875}"/>
              </a:ext>
            </a:extLst>
          </p:cNvPr>
          <p:cNvPicPr>
            <a:picLocks noChangeAspect="1"/>
          </p:cNvPicPr>
          <p:nvPr/>
        </p:nvPicPr>
        <p:blipFill>
          <a:blip r:embed="rId4"/>
          <a:stretch>
            <a:fillRect/>
          </a:stretch>
        </p:blipFill>
        <p:spPr>
          <a:xfrm>
            <a:off x="1411569" y="2333581"/>
            <a:ext cx="2017951" cy="4340728"/>
          </a:xfrm>
          <a:prstGeom prst="rect">
            <a:avLst/>
          </a:prstGeom>
        </p:spPr>
      </p:pic>
      <p:pic>
        <p:nvPicPr>
          <p:cNvPr id="7" name="Picture 3">
            <a:extLst>
              <a:ext uri="{FF2B5EF4-FFF2-40B4-BE49-F238E27FC236}">
                <a16:creationId xmlns:a16="http://schemas.microsoft.com/office/drawing/2014/main" id="{AA7CD3AF-455B-5211-CAE6-373FE55003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3686" y="233358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542359"/>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3894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29290"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9134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4"/>
          <a:stretch>
            <a:fillRect/>
          </a:stretch>
        </p:blipFill>
        <p:spPr>
          <a:xfrm>
            <a:off x="1149833" y="2255583"/>
            <a:ext cx="2475191" cy="4377307"/>
          </a:xfrm>
          <a:prstGeom prst="rect">
            <a:avLst/>
          </a:prstGeom>
        </p:spPr>
      </p:pic>
      <p:pic>
        <p:nvPicPr>
          <p:cNvPr id="6" name="Picture 2">
            <a:extLst>
              <a:ext uri="{FF2B5EF4-FFF2-40B4-BE49-F238E27FC236}">
                <a16:creationId xmlns:a16="http://schemas.microsoft.com/office/drawing/2014/main" id="{C717FE61-D6B7-8BBC-CCD5-66F1FB4C8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547" y="2255583"/>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a:t>
            </a:r>
            <a:r>
              <a:rPr lang="ja-JP" altLang="en-US">
                <a:latin typeface="BIZ UDPゴシック" panose="020B0400000000000000" pitchFamily="50" charset="-128"/>
                <a:ea typeface="BIZ UDPゴシック" panose="020B0400000000000000" pitchFamily="50" charset="-128"/>
              </a:rPr>
              <a:t>に「くりにくす」</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Tree>
    <p:extLst>
      <p:ext uri="{BB962C8B-B14F-4D97-AF65-F5344CB8AC3E}">
        <p14:creationId xmlns:p14="http://schemas.microsoft.com/office/powerpoint/2010/main" val="3680670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DB847B8-7AAB-1103-D6A2-AE20B8104E65}"/>
              </a:ext>
            </a:extLst>
          </p:cNvPr>
          <p:cNvPicPr>
            <a:picLocks noChangeAspect="1"/>
          </p:cNvPicPr>
          <p:nvPr/>
        </p:nvPicPr>
        <p:blipFill>
          <a:blip r:embed="rId4"/>
          <a:stretch>
            <a:fillRect/>
          </a:stretch>
        </p:blipFill>
        <p:spPr>
          <a:xfrm>
            <a:off x="5462027" y="2241039"/>
            <a:ext cx="2475191" cy="4383404"/>
          </a:xfrm>
          <a:prstGeom prst="rect">
            <a:avLst/>
          </a:prstGeom>
        </p:spPr>
      </p:pic>
      <p:pic>
        <p:nvPicPr>
          <p:cNvPr id="20" name="図 19">
            <a:extLst>
              <a:ext uri="{FF2B5EF4-FFF2-40B4-BE49-F238E27FC236}">
                <a16:creationId xmlns:a16="http://schemas.microsoft.com/office/drawing/2014/main" id="{D64CAD18-633F-AC08-042A-E710CBF59EA4}"/>
              </a:ext>
            </a:extLst>
          </p:cNvPr>
          <p:cNvPicPr>
            <a:picLocks noChangeAspect="1"/>
          </p:cNvPicPr>
          <p:nvPr/>
        </p:nvPicPr>
        <p:blipFill>
          <a:blip r:embed="rId5"/>
          <a:stretch>
            <a:fillRect/>
          </a:stretch>
        </p:blipFill>
        <p:spPr>
          <a:xfrm>
            <a:off x="1178761" y="2241039"/>
            <a:ext cx="2459716" cy="4355999"/>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AE55058-618A-D437-5190-8071315F97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2B413224-D0A6-8F15-75CD-00F97735E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7"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しない」または「許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38697" y="256700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8" name="四角形: 角を丸くする 27">
            <a:extLst>
              <a:ext uri="{FF2B5EF4-FFF2-40B4-BE49-F238E27FC236}">
                <a16:creationId xmlns:a16="http://schemas.microsoft.com/office/drawing/2014/main" id="{8581C187-B173-2D6C-346A-02CD65AD420D}"/>
              </a:ext>
            </a:extLst>
          </p:cNvPr>
          <p:cNvSpPr/>
          <p:nvPr/>
        </p:nvSpPr>
        <p:spPr>
          <a:xfrm>
            <a:off x="6665599"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A42903-CF04-818A-AEF8-19D48FD95055}"/>
              </a:ext>
            </a:extLst>
          </p:cNvPr>
          <p:cNvSpPr/>
          <p:nvPr/>
        </p:nvSpPr>
        <p:spPr>
          <a:xfrm>
            <a:off x="5802287"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A1E14158-7308-CDE9-68A1-78EF0055348C}"/>
              </a:ext>
            </a:extLst>
          </p:cNvPr>
          <p:cNvPicPr>
            <a:picLocks noChangeAspect="1"/>
          </p:cNvPicPr>
          <p:nvPr/>
        </p:nvPicPr>
        <p:blipFill>
          <a:blip r:embed="rId8"/>
          <a:srcRect l="14566" t="13980" r="13726" b="14311"/>
          <a:stretch>
            <a:fillRect/>
          </a:stretch>
        </p:blipFill>
        <p:spPr>
          <a:xfrm>
            <a:off x="2631514" y="1569130"/>
            <a:ext cx="324000" cy="324000"/>
          </a:xfrm>
          <a:custGeom>
            <a:avLst/>
            <a:gdLst>
              <a:gd name="connsiteX0" fmla="*/ 66001 w 396000"/>
              <a:gd name="connsiteY0" fmla="*/ 0 h 396000"/>
              <a:gd name="connsiteX1" fmla="*/ 329999 w 396000"/>
              <a:gd name="connsiteY1" fmla="*/ 0 h 396000"/>
              <a:gd name="connsiteX2" fmla="*/ 396000 w 396000"/>
              <a:gd name="connsiteY2" fmla="*/ 66001 h 396000"/>
              <a:gd name="connsiteX3" fmla="*/ 396000 w 396000"/>
              <a:gd name="connsiteY3" fmla="*/ 329999 h 396000"/>
              <a:gd name="connsiteX4" fmla="*/ 329999 w 396000"/>
              <a:gd name="connsiteY4" fmla="*/ 396000 h 396000"/>
              <a:gd name="connsiteX5" fmla="*/ 66001 w 396000"/>
              <a:gd name="connsiteY5" fmla="*/ 396000 h 396000"/>
              <a:gd name="connsiteX6" fmla="*/ 0 w 396000"/>
              <a:gd name="connsiteY6" fmla="*/ 329999 h 396000"/>
              <a:gd name="connsiteX7" fmla="*/ 0 w 396000"/>
              <a:gd name="connsiteY7" fmla="*/ 66001 h 396000"/>
              <a:gd name="connsiteX8" fmla="*/ 66001 w 396000"/>
              <a:gd name="connsiteY8"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000" h="396000">
                <a:moveTo>
                  <a:pt x="66001" y="0"/>
                </a:moveTo>
                <a:lnTo>
                  <a:pt x="329999" y="0"/>
                </a:lnTo>
                <a:cubicBezTo>
                  <a:pt x="366450" y="0"/>
                  <a:pt x="396000" y="29550"/>
                  <a:pt x="396000" y="66001"/>
                </a:cubicBezTo>
                <a:lnTo>
                  <a:pt x="396000" y="329999"/>
                </a:lnTo>
                <a:cubicBezTo>
                  <a:pt x="396000" y="366450"/>
                  <a:pt x="366450" y="396000"/>
                  <a:pt x="329999" y="396000"/>
                </a:cubicBezTo>
                <a:lnTo>
                  <a:pt x="66001" y="396000"/>
                </a:lnTo>
                <a:cubicBezTo>
                  <a:pt x="29550" y="396000"/>
                  <a:pt x="0" y="366450"/>
                  <a:pt x="0" y="329999"/>
                </a:cubicBezTo>
                <a:lnTo>
                  <a:pt x="0" y="66001"/>
                </a:lnTo>
                <a:cubicBezTo>
                  <a:pt x="0" y="29550"/>
                  <a:pt x="29550" y="0"/>
                  <a:pt x="66001" y="0"/>
                </a:cubicBezTo>
                <a:close/>
              </a:path>
            </a:pathLst>
          </a:custGeom>
        </p:spPr>
      </p:pic>
    </p:spTree>
    <p:extLst>
      <p:ext uri="{BB962C8B-B14F-4D97-AF65-F5344CB8AC3E}">
        <p14:creationId xmlns:p14="http://schemas.microsoft.com/office/powerpoint/2010/main" val="251429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purl.org/dc/terms/"/>
    <ds:schemaRef ds:uri="079a4871-f4a2-4665-9954-203da50962a5"/>
    <ds:schemaRef ds:uri="http://purl.org/dc/dcmitype/"/>
    <ds:schemaRef ds:uri="http://schemas.openxmlformats.org/package/2006/metadata/core-properties"/>
    <ds:schemaRef ds:uri="http://purl.org/dc/elements/1.1/"/>
    <ds:schemaRef ds:uri="http://schemas.microsoft.com/office/infopath/2007/PartnerControls"/>
    <ds:schemaRef ds:uri="2c894bec-798d-4cf3-95d8-8ea6401a7b8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C3CB66D-269F-4CD7-A2BB-7676BB79D147}"/>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2312</Words>
  <PresentationFormat>画面に合わせる (4:3)</PresentationFormat>
  <Paragraphs>541</Paragraphs>
  <Slides>47</Slides>
  <Notes>47</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7</vt:i4>
      </vt:variant>
    </vt:vector>
  </HeadingPairs>
  <TitlesOfParts>
    <vt:vector size="52" baseType="lpstr">
      <vt:lpstr>BIZ UDPゴシック</vt:lpstr>
      <vt:lpstr>Abadi</vt:lpstr>
      <vt:lpstr>Arial</vt:lpstr>
      <vt:lpstr>ホワイト</vt:lpstr>
      <vt:lpstr>think-cell スライド</vt:lpstr>
      <vt:lpstr>PowerPoint プレゼンテーション</vt:lpstr>
      <vt:lpstr>3-A</vt:lpstr>
      <vt:lpstr>【2】CLINICSのインストール</vt:lpstr>
      <vt:lpstr>【2】CLINICSのインストール</vt:lpstr>
      <vt:lpstr>【2】CLINICSのインストール</vt:lpstr>
      <vt:lpstr>3-A</vt:lpstr>
      <vt:lpstr>3-A</vt:lpstr>
      <vt:lpstr>3-A</vt:lpstr>
      <vt:lpstr>【3】アカウントの登録</vt:lpstr>
      <vt:lpstr>【3】アカウントの登録</vt:lpstr>
      <vt:lpstr>【3】アカウントの登録</vt:lpstr>
      <vt:lpstr>【3】アカウントの登録</vt:lpstr>
      <vt:lpstr>【3】アカウント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5】クレジットカードの登録</vt:lpstr>
      <vt:lpstr>【5】クレジットカードの登録</vt:lpstr>
      <vt:lpstr>【5】クレジットカードの登録</vt:lpstr>
      <vt:lpstr>【5】クレジットカードの登録</vt:lpstr>
      <vt:lpstr>【6】CLINICSで病院・診療所を探そう</vt:lpstr>
      <vt:lpstr>【6】CLINICSで病院・診療所を探そう</vt:lpstr>
      <vt:lpstr>PowerPoint プレゼンテーション</vt:lpstr>
      <vt:lpstr>PowerPoint プレゼンテーション</vt:lpstr>
      <vt:lpstr>PowerPoint プレゼンテーション</vt:lpstr>
      <vt:lpstr>【8】診療日の予約</vt:lpstr>
      <vt:lpstr>【9】服薬指導方法・同意書の確認</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1】診療前の事前準備</vt:lpstr>
      <vt:lpstr>【11】診療前の事前準備</vt:lpstr>
      <vt:lpstr>【11】診療前の事前準備</vt:lpstr>
      <vt:lpstr>【11】診療前の事前準備</vt:lpstr>
      <vt:lpstr>【11】診療前の事前準備</vt:lpstr>
      <vt:lpstr>【11】診療前の事前準備</vt:lpstr>
      <vt:lpstr>【12】ビデオ通話で診察</vt:lpstr>
      <vt:lpstr>3-A</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375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